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84" r:id="rId5"/>
    <p:sldMasterId id="2147484136" r:id="rId6"/>
    <p:sldMasterId id="2147484172" r:id="rId7"/>
  </p:sldMasterIdLst>
  <p:notesMasterIdLst>
    <p:notesMasterId r:id="rId11"/>
  </p:notesMasterIdLst>
  <p:handoutMasterIdLst>
    <p:handoutMasterId r:id="rId12"/>
  </p:handoutMasterIdLst>
  <p:sldIdLst>
    <p:sldId id="2147480756" r:id="rId8"/>
    <p:sldId id="2147479795" r:id="rId9"/>
    <p:sldId id="2147478834" r:id="rId10"/>
  </p:sldIdLst>
  <p:sldSz cx="12192000" cy="6858000"/>
  <p:notesSz cx="6797675" cy="9926638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99"/>
    <a:srgbClr val="000000"/>
    <a:srgbClr val="FAA002"/>
    <a:srgbClr val="A1AD1C"/>
    <a:srgbClr val="6F6F6F"/>
    <a:srgbClr val="FFA600"/>
    <a:srgbClr val="DBDBDB"/>
    <a:srgbClr val="7979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33"/>
    <p:restoredTop sz="94694"/>
  </p:normalViewPr>
  <p:slideViewPr>
    <p:cSldViewPr snapToGrid="0">
      <p:cViewPr varScale="1">
        <p:scale>
          <a:sx n="78" d="100"/>
          <a:sy n="78" d="100"/>
        </p:scale>
        <p:origin x="830" y="7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3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21.06.2024</a:t>
            </a:fld>
            <a:endParaRPr lang="de-DE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21.06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3C576A-2AD5-4175-81A7-2313C2C0C138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55059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oleObject" Target="../embeddings/oleObject2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3.svg"/><Relationship Id="rId5" Type="http://schemas.openxmlformats.org/officeDocument/2006/relationships/tags" Target="../tags/tag27.xml"/><Relationship Id="rId10" Type="http://schemas.openxmlformats.org/officeDocument/2006/relationships/image" Target="../media/image2.png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image" Target="../media/image4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oleObject" Target="../embeddings/oleObject9.bin"/><Relationship Id="rId5" Type="http://schemas.openxmlformats.org/officeDocument/2006/relationships/tags" Target="../tags/tag9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9.xml"/><Relationship Id="rId9" Type="http://schemas.openxmlformats.org/officeDocument/2006/relationships/tags" Target="../tags/tag94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6.emf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9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8.xml"/><Relationship Id="rId9" Type="http://schemas.openxmlformats.org/officeDocument/2006/relationships/tags" Target="../tags/tag10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image" Target="../media/image6.emf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10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7.xml"/><Relationship Id="rId9" Type="http://schemas.openxmlformats.org/officeDocument/2006/relationships/tags" Target="../tags/tag11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image" Target="../media/image4.emf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11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16.xml"/><Relationship Id="rId9" Type="http://schemas.openxmlformats.org/officeDocument/2006/relationships/tags" Target="../tags/tag12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12" Type="http://schemas.openxmlformats.org/officeDocument/2006/relationships/image" Target="../media/image4.emf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12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5.xml"/><Relationship Id="rId9" Type="http://schemas.openxmlformats.org/officeDocument/2006/relationships/tags" Target="../tags/tag13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35.xml"/><Relationship Id="rId4" Type="http://schemas.openxmlformats.org/officeDocument/2006/relationships/tags" Target="../tags/tag13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9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142.xml"/><Relationship Id="rId7" Type="http://schemas.openxmlformats.org/officeDocument/2006/relationships/image" Target="../media/image7.png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4.emf"/><Relationship Id="rId4" Type="http://schemas.openxmlformats.org/officeDocument/2006/relationships/tags" Target="../tags/tag34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5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4.xml"/><Relationship Id="rId4" Type="http://schemas.openxmlformats.org/officeDocument/2006/relationships/image" Target="../media/image23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5.emf"/><Relationship Id="rId4" Type="http://schemas.openxmlformats.org/officeDocument/2006/relationships/tags" Target="../tags/tag55.xml"/><Relationship Id="rId9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4.emf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oleObject" Target="../embeddings/oleObject6.bin"/><Relationship Id="rId5" Type="http://schemas.openxmlformats.org/officeDocument/2006/relationships/tags" Target="../tags/tag6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2.xml"/><Relationship Id="rId9" Type="http://schemas.openxmlformats.org/officeDocument/2006/relationships/tags" Target="../tags/tag6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4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oleObject" Target="../embeddings/oleObject7.bin"/><Relationship Id="rId5" Type="http://schemas.openxmlformats.org/officeDocument/2006/relationships/tags" Target="../tags/tag7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1.xml"/><Relationship Id="rId9" Type="http://schemas.openxmlformats.org/officeDocument/2006/relationships/tags" Target="../tags/tag7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image" Target="../media/image6.emf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oleObject" Target="../embeddings/oleObject8.bin"/><Relationship Id="rId5" Type="http://schemas.openxmlformats.org/officeDocument/2006/relationships/tags" Target="../tags/tag8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0.xml"/><Relationship Id="rId9" Type="http://schemas.openxmlformats.org/officeDocument/2006/relationships/tags" Target="../tags/tag8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rgbClr val="051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artnership">
            <a:extLst>
              <a:ext uri="{FF2B5EF4-FFF2-40B4-BE49-F238E27FC236}">
                <a16:creationId xmlns:a16="http://schemas.microsoft.com/office/drawing/2014/main" id="{23DEF64A-725C-4056-9682-AD87AC5208D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021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190488"/>
            <a:ext cx="2322576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pSp>
        <p:nvGrpSpPr>
          <p:cNvPr id="6" name="logoimage">
            <a:extLst>
              <a:ext uri="{FF2B5EF4-FFF2-40B4-BE49-F238E27FC236}">
                <a16:creationId xmlns:a16="http://schemas.microsoft.com/office/drawing/2014/main" id="{12787261-85EA-407B-A9D4-797FA08F74F4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551942" y="481160"/>
            <a:ext cx="1893201" cy="585216"/>
            <a:chOff x="551942" y="481160"/>
            <a:chExt cx="1893201" cy="585216"/>
          </a:xfrm>
        </p:grpSpPr>
        <p:sp>
          <p:nvSpPr>
            <p:cNvPr id="18" name="AutoShape 3">
              <a:extLst>
                <a:ext uri="{FF2B5EF4-FFF2-40B4-BE49-F238E27FC236}">
                  <a16:creationId xmlns:a16="http://schemas.microsoft.com/office/drawing/2014/main" id="{E8A472B5-EC20-41F1-91D8-281D2B5D8D1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551942" y="481160"/>
              <a:ext cx="1893201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5153A5B-4B89-4D4A-96F0-F9AFF4E7D0F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51942" y="481407"/>
              <a:ext cx="1893201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42578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110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006687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614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359819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389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246374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422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3200"/>
            <a:ext cx="3465576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82346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790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554736" y="2743200"/>
            <a:ext cx="2514600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438816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2790336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044161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2263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3" name="Partnership">
            <a:extLst>
              <a:ext uri="{FF2B5EF4-FFF2-40B4-BE49-F238E27FC236}">
                <a16:creationId xmlns:a16="http://schemas.microsoft.com/office/drawing/2014/main" id="{C64B07B1-8683-CCA3-B9E1-21D76EEE60B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2761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B292824-07A8-011F-7C3C-9D06D6401B48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3DDBBA95-24E5-DFF8-AF34-A0FBD1264B8B}"/>
              </a:ext>
            </a:extLst>
          </p:cNvPr>
          <p:cNvSpPr>
            <a:spLocks/>
          </p:cNvSpPr>
          <p:nvPr userDrawn="1"/>
        </p:nvSpPr>
        <p:spPr bwMode="gray">
          <a:xfrm>
            <a:off x="6276020" y="404664"/>
            <a:ext cx="5915980" cy="6453336"/>
          </a:xfrm>
          <a:custGeom>
            <a:avLst/>
            <a:gdLst>
              <a:gd name="connsiteX0" fmla="*/ 5915980 w 5915980"/>
              <a:gd name="connsiteY0" fmla="*/ 4499633 h 6453336"/>
              <a:gd name="connsiteX1" fmla="*/ 5915980 w 5915980"/>
              <a:gd name="connsiteY1" fmla="*/ 6018809 h 6453336"/>
              <a:gd name="connsiteX2" fmla="*/ 5889506 w 5915980"/>
              <a:gd name="connsiteY2" fmla="*/ 6037238 h 6453336"/>
              <a:gd name="connsiteX3" fmla="*/ 5503762 w 5915980"/>
              <a:gd name="connsiteY3" fmla="*/ 6305761 h 6453336"/>
              <a:gd name="connsiteX4" fmla="*/ 5503762 w 5915980"/>
              <a:gd name="connsiteY4" fmla="*/ 6401389 h 6453336"/>
              <a:gd name="connsiteX5" fmla="*/ 5503762 w 5915980"/>
              <a:gd name="connsiteY5" fmla="*/ 6453336 h 6453336"/>
              <a:gd name="connsiteX6" fmla="*/ 4366980 w 5915980"/>
              <a:gd name="connsiteY6" fmla="*/ 6453336 h 6453336"/>
              <a:gd name="connsiteX7" fmla="*/ 4366980 w 5915980"/>
              <a:gd name="connsiteY7" fmla="*/ 6390134 h 6453336"/>
              <a:gd name="connsiteX8" fmla="*/ 4366980 w 5915980"/>
              <a:gd name="connsiteY8" fmla="*/ 6003537 h 6453336"/>
              <a:gd name="connsiteX9" fmla="*/ 4608093 w 5915980"/>
              <a:gd name="connsiteY9" fmla="*/ 5540040 h 6453336"/>
              <a:gd name="connsiteX10" fmla="*/ 4707655 w 5915980"/>
              <a:gd name="connsiteY10" fmla="*/ 5471654 h 6453336"/>
              <a:gd name="connsiteX11" fmla="*/ 5576914 w 5915980"/>
              <a:gd name="connsiteY11" fmla="*/ 4871577 h 6453336"/>
              <a:gd name="connsiteX12" fmla="*/ 5865166 w 5915980"/>
              <a:gd name="connsiteY12" fmla="*/ 4583439 h 6453336"/>
              <a:gd name="connsiteX13" fmla="*/ 5507372 w 5915980"/>
              <a:gd name="connsiteY13" fmla="*/ 1160746 h 6453336"/>
              <a:gd name="connsiteX14" fmla="*/ 5849367 w 5915980"/>
              <a:gd name="connsiteY14" fmla="*/ 1196089 h 6453336"/>
              <a:gd name="connsiteX15" fmla="*/ 5915980 w 5915980"/>
              <a:gd name="connsiteY15" fmla="*/ 1213384 h 6453336"/>
              <a:gd name="connsiteX16" fmla="*/ 5915980 w 5915980"/>
              <a:gd name="connsiteY16" fmla="*/ 2482794 h 6453336"/>
              <a:gd name="connsiteX17" fmla="*/ 5890938 w 5915980"/>
              <a:gd name="connsiteY17" fmla="*/ 2453316 h 6453336"/>
              <a:gd name="connsiteX18" fmla="*/ 5179430 w 5915980"/>
              <a:gd name="connsiteY18" fmla="*/ 2396994 h 6453336"/>
              <a:gd name="connsiteX19" fmla="*/ 1909305 w 5915980"/>
              <a:gd name="connsiteY19" fmla="*/ 4659583 h 6453336"/>
              <a:gd name="connsiteX20" fmla="*/ 1830454 w 5915980"/>
              <a:gd name="connsiteY20" fmla="*/ 4682759 h 6453336"/>
              <a:gd name="connsiteX21" fmla="*/ 1695931 w 5915980"/>
              <a:gd name="connsiteY21" fmla="*/ 4543709 h 6453336"/>
              <a:gd name="connsiteX22" fmla="*/ 1695931 w 5915980"/>
              <a:gd name="connsiteY22" fmla="*/ 3720051 h 6453336"/>
              <a:gd name="connsiteX23" fmla="*/ 1938185 w 5915980"/>
              <a:gd name="connsiteY23" fmla="*/ 3256553 h 6453336"/>
              <a:gd name="connsiteX24" fmla="*/ 4533992 w 5915980"/>
              <a:gd name="connsiteY24" fmla="*/ 1465438 h 6453336"/>
              <a:gd name="connsiteX25" fmla="*/ 5507372 w 5915980"/>
              <a:gd name="connsiteY25" fmla="*/ 1160746 h 6453336"/>
              <a:gd name="connsiteX26" fmla="*/ 2704404 w 5915980"/>
              <a:gd name="connsiteY26" fmla="*/ 0 h 6453336"/>
              <a:gd name="connsiteX27" fmla="*/ 2835302 w 5915980"/>
              <a:gd name="connsiteY27" fmla="*/ 140205 h 6453336"/>
              <a:gd name="connsiteX28" fmla="*/ 2835302 w 5915980"/>
              <a:gd name="connsiteY28" fmla="*/ 1649979 h 6453336"/>
              <a:gd name="connsiteX29" fmla="*/ 2594214 w 5915980"/>
              <a:gd name="connsiteY29" fmla="*/ 2113530 h 6453336"/>
              <a:gd name="connsiteX30" fmla="*/ 1622074 w 5915980"/>
              <a:gd name="connsiteY30" fmla="*/ 2785490 h 6453336"/>
              <a:gd name="connsiteX31" fmla="*/ 1131919 w 5915980"/>
              <a:gd name="connsiteY31" fmla="*/ 3712403 h 6453336"/>
              <a:gd name="connsiteX32" fmla="*/ 1131919 w 5915980"/>
              <a:gd name="connsiteY32" fmla="*/ 4802700 h 6453336"/>
              <a:gd name="connsiteX33" fmla="*/ 1231660 w 5915980"/>
              <a:gd name="connsiteY33" fmla="*/ 5122437 h 6453336"/>
              <a:gd name="connsiteX34" fmla="*/ 2017238 w 5915980"/>
              <a:gd name="connsiteY34" fmla="*/ 5266251 h 6453336"/>
              <a:gd name="connsiteX35" fmla="*/ 5287026 w 5915980"/>
              <a:gd name="connsiteY35" fmla="*/ 3004537 h 6453336"/>
              <a:gd name="connsiteX36" fmla="*/ 5367009 w 5915980"/>
              <a:gd name="connsiteY36" fmla="*/ 2981360 h 6453336"/>
              <a:gd name="connsiteX37" fmla="*/ 5499048 w 5915980"/>
              <a:gd name="connsiteY37" fmla="*/ 3120424 h 6453336"/>
              <a:gd name="connsiteX38" fmla="*/ 5499048 w 5915980"/>
              <a:gd name="connsiteY38" fmla="*/ 3944180 h 6453336"/>
              <a:gd name="connsiteX39" fmla="*/ 5257960 w 5915980"/>
              <a:gd name="connsiteY39" fmla="*/ 4407541 h 6453336"/>
              <a:gd name="connsiteX40" fmla="*/ 2664887 w 5915980"/>
              <a:gd name="connsiteY40" fmla="*/ 6197724 h 6453336"/>
              <a:gd name="connsiteX41" fmla="*/ 2203040 w 5915980"/>
              <a:gd name="connsiteY41" fmla="*/ 6422827 h 6453336"/>
              <a:gd name="connsiteX42" fmla="*/ 2090428 w 5915980"/>
              <a:gd name="connsiteY42" fmla="*/ 6453336 h 6453336"/>
              <a:gd name="connsiteX43" fmla="*/ 1306922 w 5915980"/>
              <a:gd name="connsiteY43" fmla="*/ 6453336 h 6453336"/>
              <a:gd name="connsiteX44" fmla="*/ 1190422 w 5915980"/>
              <a:gd name="connsiteY44" fmla="*/ 6423213 h 6453336"/>
              <a:gd name="connsiteX45" fmla="*/ 2 w 5915980"/>
              <a:gd name="connsiteY45" fmla="*/ 4800420 h 6453336"/>
              <a:gd name="connsiteX46" fmla="*/ 2 w 5915980"/>
              <a:gd name="connsiteY46" fmla="*/ 3579227 h 6453336"/>
              <a:gd name="connsiteX47" fmla="*/ 865563 w 5915980"/>
              <a:gd name="connsiteY47" fmla="*/ 1938559 h 6453336"/>
              <a:gd name="connsiteX48" fmla="*/ 1699777 w 5915980"/>
              <a:gd name="connsiteY48" fmla="*/ 1359118 h 6453336"/>
              <a:gd name="connsiteX49" fmla="*/ 1699777 w 5915980"/>
              <a:gd name="connsiteY49" fmla="*/ 963010 h 6453336"/>
              <a:gd name="connsiteX50" fmla="*/ 1940674 w 5915980"/>
              <a:gd name="connsiteY50" fmla="*/ 499458 h 6453336"/>
              <a:gd name="connsiteX51" fmla="*/ 2621952 w 5915980"/>
              <a:gd name="connsiteY51" fmla="*/ 24318 h 6453336"/>
              <a:gd name="connsiteX52" fmla="*/ 2704404 w 5915980"/>
              <a:gd name="connsiteY52" fmla="*/ 0 h 645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5915980" h="6453336">
                <a:moveTo>
                  <a:pt x="5915980" y="4499633"/>
                </a:moveTo>
                <a:lnTo>
                  <a:pt x="5915980" y="6018809"/>
                </a:lnTo>
                <a:lnTo>
                  <a:pt x="5889506" y="6037238"/>
                </a:lnTo>
                <a:cubicBezTo>
                  <a:pt x="5786519" y="6108929"/>
                  <a:pt x="5659766" y="6197164"/>
                  <a:pt x="5503762" y="6305761"/>
                </a:cubicBezTo>
                <a:cubicBezTo>
                  <a:pt x="5503762" y="6305761"/>
                  <a:pt x="5503762" y="6305761"/>
                  <a:pt x="5503762" y="6401389"/>
                </a:cubicBezTo>
                <a:lnTo>
                  <a:pt x="5503762" y="6453336"/>
                </a:lnTo>
                <a:lnTo>
                  <a:pt x="4366980" y="6453336"/>
                </a:lnTo>
                <a:lnTo>
                  <a:pt x="4366980" y="6390134"/>
                </a:lnTo>
                <a:cubicBezTo>
                  <a:pt x="4366980" y="6273726"/>
                  <a:pt x="4366980" y="6145276"/>
                  <a:pt x="4366980" y="6003537"/>
                </a:cubicBezTo>
                <a:cubicBezTo>
                  <a:pt x="4365841" y="5818137"/>
                  <a:pt x="4456282" y="5645466"/>
                  <a:pt x="4608093" y="5540040"/>
                </a:cubicBezTo>
                <a:cubicBezTo>
                  <a:pt x="4608093" y="5540040"/>
                  <a:pt x="4608093" y="5540040"/>
                  <a:pt x="4707655" y="5471654"/>
                </a:cubicBezTo>
                <a:cubicBezTo>
                  <a:pt x="4707655" y="5471654"/>
                  <a:pt x="4707655" y="5471654"/>
                  <a:pt x="5576914" y="4871577"/>
                </a:cubicBezTo>
                <a:cubicBezTo>
                  <a:pt x="5691201" y="4792506"/>
                  <a:pt x="5788360" y="4694551"/>
                  <a:pt x="5865166" y="4583439"/>
                </a:cubicBezTo>
                <a:close/>
                <a:moveTo>
                  <a:pt x="5507372" y="1160746"/>
                </a:moveTo>
                <a:cubicBezTo>
                  <a:pt x="5624556" y="1161054"/>
                  <a:pt x="5738932" y="1173215"/>
                  <a:pt x="5849367" y="1196089"/>
                </a:cubicBezTo>
                <a:lnTo>
                  <a:pt x="5915980" y="1213384"/>
                </a:lnTo>
                <a:lnTo>
                  <a:pt x="5915980" y="2482794"/>
                </a:lnTo>
                <a:lnTo>
                  <a:pt x="5890938" y="2453316"/>
                </a:lnTo>
                <a:cubicBezTo>
                  <a:pt x="5701253" y="2271253"/>
                  <a:pt x="5403537" y="2241917"/>
                  <a:pt x="5179430" y="2396994"/>
                </a:cubicBezTo>
                <a:cubicBezTo>
                  <a:pt x="5179430" y="2396994"/>
                  <a:pt x="5179430" y="2396994"/>
                  <a:pt x="1909305" y="4659583"/>
                </a:cubicBezTo>
                <a:cubicBezTo>
                  <a:pt x="1886124" y="4674591"/>
                  <a:pt x="1858194" y="4682759"/>
                  <a:pt x="1830454" y="4682759"/>
                </a:cubicBezTo>
                <a:cubicBezTo>
                  <a:pt x="1755213" y="4681619"/>
                  <a:pt x="1694792" y="4618933"/>
                  <a:pt x="1695931" y="4543709"/>
                </a:cubicBezTo>
                <a:cubicBezTo>
                  <a:pt x="1695931" y="4543709"/>
                  <a:pt x="1695931" y="4543709"/>
                  <a:pt x="1695931" y="3720051"/>
                </a:cubicBezTo>
                <a:cubicBezTo>
                  <a:pt x="1694792" y="3534652"/>
                  <a:pt x="1785233" y="3361980"/>
                  <a:pt x="1938185" y="3256553"/>
                </a:cubicBezTo>
                <a:cubicBezTo>
                  <a:pt x="1938185" y="3256553"/>
                  <a:pt x="1938185" y="3256553"/>
                  <a:pt x="4533992" y="1465438"/>
                </a:cubicBezTo>
                <a:cubicBezTo>
                  <a:pt x="4820136" y="1266173"/>
                  <a:pt x="5159669" y="1160746"/>
                  <a:pt x="5507372" y="1160746"/>
                </a:cubicBezTo>
                <a:close/>
                <a:moveTo>
                  <a:pt x="2704404" y="0"/>
                </a:moveTo>
                <a:cubicBezTo>
                  <a:pt x="2779638" y="2471"/>
                  <a:pt x="2837582" y="64973"/>
                  <a:pt x="2835302" y="140205"/>
                </a:cubicBezTo>
                <a:cubicBezTo>
                  <a:pt x="2835302" y="140205"/>
                  <a:pt x="2835302" y="140205"/>
                  <a:pt x="2835302" y="1649979"/>
                </a:cubicBezTo>
                <a:cubicBezTo>
                  <a:pt x="2836442" y="1835399"/>
                  <a:pt x="2747150" y="2009232"/>
                  <a:pt x="2594214" y="2113530"/>
                </a:cubicBezTo>
                <a:cubicBezTo>
                  <a:pt x="2594214" y="2113530"/>
                  <a:pt x="2594214" y="2113530"/>
                  <a:pt x="1622074" y="2785490"/>
                </a:cubicBezTo>
                <a:cubicBezTo>
                  <a:pt x="1316202" y="2995228"/>
                  <a:pt x="1133058" y="3341753"/>
                  <a:pt x="1131919" y="3712403"/>
                </a:cubicBezTo>
                <a:cubicBezTo>
                  <a:pt x="1131919" y="3712403"/>
                  <a:pt x="1131919" y="3712403"/>
                  <a:pt x="1131919" y="4802700"/>
                </a:cubicBezTo>
                <a:cubicBezTo>
                  <a:pt x="1131919" y="4916308"/>
                  <a:pt x="1166686" y="5028586"/>
                  <a:pt x="1231660" y="5122437"/>
                </a:cubicBezTo>
                <a:cubicBezTo>
                  <a:pt x="1408913" y="5379670"/>
                  <a:pt x="1761141" y="5443503"/>
                  <a:pt x="2017238" y="5266251"/>
                </a:cubicBezTo>
                <a:cubicBezTo>
                  <a:pt x="2017238" y="5266251"/>
                  <a:pt x="2017238" y="5266251"/>
                  <a:pt x="5287026" y="3004537"/>
                </a:cubicBezTo>
                <a:cubicBezTo>
                  <a:pt x="5310204" y="2988199"/>
                  <a:pt x="5337942" y="2981360"/>
                  <a:pt x="5367009" y="2981360"/>
                </a:cubicBezTo>
                <a:cubicBezTo>
                  <a:pt x="5442242" y="2983639"/>
                  <a:pt x="5501327" y="3045003"/>
                  <a:pt x="5499048" y="3120424"/>
                </a:cubicBezTo>
                <a:cubicBezTo>
                  <a:pt x="5499048" y="3120424"/>
                  <a:pt x="5499048" y="3120424"/>
                  <a:pt x="5499048" y="3944180"/>
                </a:cubicBezTo>
                <a:cubicBezTo>
                  <a:pt x="5500187" y="4128460"/>
                  <a:pt x="5409756" y="4302102"/>
                  <a:pt x="5257960" y="4407541"/>
                </a:cubicBezTo>
                <a:cubicBezTo>
                  <a:pt x="5257960" y="4407541"/>
                  <a:pt x="5257960" y="4407541"/>
                  <a:pt x="2664887" y="6197724"/>
                </a:cubicBezTo>
                <a:cubicBezTo>
                  <a:pt x="2522401" y="6296228"/>
                  <a:pt x="2366568" y="6371841"/>
                  <a:pt x="2203040" y="6422827"/>
                </a:cubicBezTo>
                <a:lnTo>
                  <a:pt x="2090428" y="6453336"/>
                </a:lnTo>
                <a:lnTo>
                  <a:pt x="1306922" y="6453336"/>
                </a:lnTo>
                <a:lnTo>
                  <a:pt x="1190422" y="6423213"/>
                </a:lnTo>
                <a:cubicBezTo>
                  <a:pt x="499824" y="6207373"/>
                  <a:pt x="-924" y="5562027"/>
                  <a:pt x="2" y="4800420"/>
                </a:cubicBezTo>
                <a:cubicBezTo>
                  <a:pt x="2" y="4800420"/>
                  <a:pt x="2" y="4800420"/>
                  <a:pt x="2" y="3579227"/>
                </a:cubicBezTo>
                <a:cubicBezTo>
                  <a:pt x="2283" y="2923416"/>
                  <a:pt x="325633" y="2310539"/>
                  <a:pt x="865563" y="1938559"/>
                </a:cubicBezTo>
                <a:cubicBezTo>
                  <a:pt x="865563" y="1938559"/>
                  <a:pt x="865563" y="1938559"/>
                  <a:pt x="1699777" y="1359118"/>
                </a:cubicBezTo>
                <a:cubicBezTo>
                  <a:pt x="1699777" y="1359118"/>
                  <a:pt x="1699777" y="1359118"/>
                  <a:pt x="1699777" y="963010"/>
                </a:cubicBezTo>
                <a:cubicBezTo>
                  <a:pt x="1698636" y="778729"/>
                  <a:pt x="1788878" y="604898"/>
                  <a:pt x="1940674" y="499458"/>
                </a:cubicBezTo>
                <a:cubicBezTo>
                  <a:pt x="1940674" y="499458"/>
                  <a:pt x="1940674" y="499458"/>
                  <a:pt x="2621952" y="24318"/>
                </a:cubicBezTo>
                <a:cubicBezTo>
                  <a:pt x="2646459" y="7029"/>
                  <a:pt x="2675337" y="0"/>
                  <a:pt x="2704404" y="0"/>
                </a:cubicBez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875420" y="4581128"/>
            <a:ext cx="3600000" cy="1584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9pPr>
          </a:lstStyle>
          <a:p>
            <a:r>
              <a:rPr lang="de-DE"/>
              <a:t>Untertitel der Präsentation</a:t>
            </a:r>
          </a:p>
          <a:p>
            <a:pPr lvl="1"/>
            <a:r>
              <a:rPr lang="de-DE"/>
              <a:t>Autor | Datum | Ort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4067FFD-BCCF-73BC-43E8-152AA837DE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9624632" y="404664"/>
            <a:ext cx="2160000" cy="57042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875420" y="1844824"/>
            <a:ext cx="10440000" cy="2016000"/>
          </a:xfrm>
        </p:spPr>
        <p:txBody>
          <a:bodyPr anchor="b"/>
          <a:lstStyle>
            <a:lvl1pPr algn="l"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/>
              <a:t>Titel der </a:t>
            </a:r>
            <a:br>
              <a:rPr lang="de-DE"/>
            </a:br>
            <a:r>
              <a:rPr lang="de-DE"/>
              <a:t>Präsentation</a:t>
            </a:r>
          </a:p>
        </p:txBody>
      </p:sp>
    </p:spTree>
    <p:extLst>
      <p:ext uri="{BB962C8B-B14F-4D97-AF65-F5344CB8AC3E}">
        <p14:creationId xmlns:p14="http://schemas.microsoft.com/office/powerpoint/2010/main" val="26688565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B292824-07A8-011F-7C3C-9D06D6401B48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875420" y="4581128"/>
            <a:ext cx="3600000" cy="1584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9pPr>
          </a:lstStyle>
          <a:p>
            <a:r>
              <a:rPr lang="de-DE"/>
              <a:t>Untertitel der Präsentation</a:t>
            </a:r>
          </a:p>
          <a:p>
            <a:pPr lvl="1"/>
            <a:r>
              <a:rPr lang="de-DE"/>
              <a:t>Autor | Datum | Ort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78A4C02F-DCB8-8559-4557-65A4F1F6D83A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276020" y="404664"/>
            <a:ext cx="5915980" cy="6453336"/>
          </a:xfrm>
          <a:custGeom>
            <a:avLst/>
            <a:gdLst>
              <a:gd name="connsiteX0" fmla="*/ 5915980 w 5915980"/>
              <a:gd name="connsiteY0" fmla="*/ 4498631 h 6453336"/>
              <a:gd name="connsiteX1" fmla="*/ 5915980 w 5915980"/>
              <a:gd name="connsiteY1" fmla="*/ 6019246 h 6453336"/>
              <a:gd name="connsiteX2" fmla="*/ 5888334 w 5915980"/>
              <a:gd name="connsiteY2" fmla="*/ 6038498 h 6453336"/>
              <a:gd name="connsiteX3" fmla="*/ 5502668 w 5915980"/>
              <a:gd name="connsiteY3" fmla="*/ 6307077 h 6453336"/>
              <a:gd name="connsiteX4" fmla="*/ 5502668 w 5915980"/>
              <a:gd name="connsiteY4" fmla="*/ 6402725 h 6453336"/>
              <a:gd name="connsiteX5" fmla="*/ 5502668 w 5915980"/>
              <a:gd name="connsiteY5" fmla="*/ 6453336 h 6453336"/>
              <a:gd name="connsiteX6" fmla="*/ 4366112 w 5915980"/>
              <a:gd name="connsiteY6" fmla="*/ 6453336 h 6453336"/>
              <a:gd name="connsiteX7" fmla="*/ 4366112 w 5915980"/>
              <a:gd name="connsiteY7" fmla="*/ 6391468 h 6453336"/>
              <a:gd name="connsiteX8" fmla="*/ 4366112 w 5915980"/>
              <a:gd name="connsiteY8" fmla="*/ 6004791 h 6453336"/>
              <a:gd name="connsiteX9" fmla="*/ 4607176 w 5915980"/>
              <a:gd name="connsiteY9" fmla="*/ 5541196 h 6453336"/>
              <a:gd name="connsiteX10" fmla="*/ 4706718 w 5915980"/>
              <a:gd name="connsiteY10" fmla="*/ 5472796 h 6453336"/>
              <a:gd name="connsiteX11" fmla="*/ 5575804 w 5915980"/>
              <a:gd name="connsiteY11" fmla="*/ 4872594 h 6453336"/>
              <a:gd name="connsiteX12" fmla="*/ 5863999 w 5915980"/>
              <a:gd name="connsiteY12" fmla="*/ 4584395 h 6453336"/>
              <a:gd name="connsiteX13" fmla="*/ 5506277 w 5915980"/>
              <a:gd name="connsiteY13" fmla="*/ 1160988 h 6453336"/>
              <a:gd name="connsiteX14" fmla="*/ 5848204 w 5915980"/>
              <a:gd name="connsiteY14" fmla="*/ 1196339 h 6453336"/>
              <a:gd name="connsiteX15" fmla="*/ 5915980 w 5915980"/>
              <a:gd name="connsiteY15" fmla="*/ 1213943 h 6453336"/>
              <a:gd name="connsiteX16" fmla="*/ 5915980 w 5915980"/>
              <a:gd name="connsiteY16" fmla="*/ 2484699 h 6453336"/>
              <a:gd name="connsiteX17" fmla="*/ 5889766 w 5915980"/>
              <a:gd name="connsiteY17" fmla="*/ 2453828 h 6453336"/>
              <a:gd name="connsiteX18" fmla="*/ 5178399 w 5915980"/>
              <a:gd name="connsiteY18" fmla="*/ 2397494 h 6453336"/>
              <a:gd name="connsiteX19" fmla="*/ 1908925 w 5915980"/>
              <a:gd name="connsiteY19" fmla="*/ 4660556 h 6453336"/>
              <a:gd name="connsiteX20" fmla="*/ 1830089 w 5915980"/>
              <a:gd name="connsiteY20" fmla="*/ 4683736 h 6453336"/>
              <a:gd name="connsiteX21" fmla="*/ 1695594 w 5915980"/>
              <a:gd name="connsiteY21" fmla="*/ 4544657 h 6453336"/>
              <a:gd name="connsiteX22" fmla="*/ 1695594 w 5915980"/>
              <a:gd name="connsiteY22" fmla="*/ 3720827 h 6453336"/>
              <a:gd name="connsiteX23" fmla="*/ 1937799 w 5915980"/>
              <a:gd name="connsiteY23" fmla="*/ 3257233 h 6453336"/>
              <a:gd name="connsiteX24" fmla="*/ 4533090 w 5915980"/>
              <a:gd name="connsiteY24" fmla="*/ 1465744 h 6453336"/>
              <a:gd name="connsiteX25" fmla="*/ 5506277 w 5915980"/>
              <a:gd name="connsiteY25" fmla="*/ 1160988 h 6453336"/>
              <a:gd name="connsiteX26" fmla="*/ 2703866 w 5915980"/>
              <a:gd name="connsiteY26" fmla="*/ 0 h 6453336"/>
              <a:gd name="connsiteX27" fmla="*/ 2834738 w 5915980"/>
              <a:gd name="connsiteY27" fmla="*/ 140235 h 6453336"/>
              <a:gd name="connsiteX28" fmla="*/ 2834738 w 5915980"/>
              <a:gd name="connsiteY28" fmla="*/ 1650323 h 6453336"/>
              <a:gd name="connsiteX29" fmla="*/ 2593698 w 5915980"/>
              <a:gd name="connsiteY29" fmla="*/ 2113971 h 6453336"/>
              <a:gd name="connsiteX30" fmla="*/ 1621751 w 5915980"/>
              <a:gd name="connsiteY30" fmla="*/ 2786072 h 6453336"/>
              <a:gd name="connsiteX31" fmla="*/ 1131693 w 5915980"/>
              <a:gd name="connsiteY31" fmla="*/ 3713178 h 6453336"/>
              <a:gd name="connsiteX32" fmla="*/ 1131693 w 5915980"/>
              <a:gd name="connsiteY32" fmla="*/ 4803702 h 6453336"/>
              <a:gd name="connsiteX33" fmla="*/ 1231415 w 5915980"/>
              <a:gd name="connsiteY33" fmla="*/ 5123506 h 6453336"/>
              <a:gd name="connsiteX34" fmla="*/ 2016836 w 5915980"/>
              <a:gd name="connsiteY34" fmla="*/ 5267350 h 6453336"/>
              <a:gd name="connsiteX35" fmla="*/ 5285974 w 5915980"/>
              <a:gd name="connsiteY35" fmla="*/ 3005164 h 6453336"/>
              <a:gd name="connsiteX36" fmla="*/ 5365941 w 5915980"/>
              <a:gd name="connsiteY36" fmla="*/ 2981982 h 6453336"/>
              <a:gd name="connsiteX37" fmla="*/ 5497953 w 5915980"/>
              <a:gd name="connsiteY37" fmla="*/ 3121076 h 6453336"/>
              <a:gd name="connsiteX38" fmla="*/ 5497953 w 5915980"/>
              <a:gd name="connsiteY38" fmla="*/ 3945003 h 6453336"/>
              <a:gd name="connsiteX39" fmla="*/ 5256913 w 5915980"/>
              <a:gd name="connsiteY39" fmla="*/ 4408461 h 6453336"/>
              <a:gd name="connsiteX40" fmla="*/ 2664357 w 5915980"/>
              <a:gd name="connsiteY40" fmla="*/ 6199017 h 6453336"/>
              <a:gd name="connsiteX41" fmla="*/ 2202602 w 5915980"/>
              <a:gd name="connsiteY41" fmla="*/ 6424167 h 6453336"/>
              <a:gd name="connsiteX42" fmla="*/ 2094984 w 5915980"/>
              <a:gd name="connsiteY42" fmla="*/ 6453336 h 6453336"/>
              <a:gd name="connsiteX43" fmla="*/ 1301454 w 5915980"/>
              <a:gd name="connsiteY43" fmla="*/ 6453336 h 6453336"/>
              <a:gd name="connsiteX44" fmla="*/ 1190185 w 5915980"/>
              <a:gd name="connsiteY44" fmla="*/ 6424554 h 6453336"/>
              <a:gd name="connsiteX45" fmla="*/ 2 w 5915980"/>
              <a:gd name="connsiteY45" fmla="*/ 4801422 h 6453336"/>
              <a:gd name="connsiteX46" fmla="*/ 2 w 5915980"/>
              <a:gd name="connsiteY46" fmla="*/ 3579974 h 6453336"/>
              <a:gd name="connsiteX47" fmla="*/ 865391 w 5915980"/>
              <a:gd name="connsiteY47" fmla="*/ 1938963 h 6453336"/>
              <a:gd name="connsiteX48" fmla="*/ 1699439 w 5915980"/>
              <a:gd name="connsiteY48" fmla="*/ 1359402 h 6453336"/>
              <a:gd name="connsiteX49" fmla="*/ 1699439 w 5915980"/>
              <a:gd name="connsiteY49" fmla="*/ 963211 h 6453336"/>
              <a:gd name="connsiteX50" fmla="*/ 1940288 w 5915980"/>
              <a:gd name="connsiteY50" fmla="*/ 499563 h 6453336"/>
              <a:gd name="connsiteX51" fmla="*/ 2621430 w 5915980"/>
              <a:gd name="connsiteY51" fmla="*/ 24323 h 6453336"/>
              <a:gd name="connsiteX52" fmla="*/ 2703866 w 5915980"/>
              <a:gd name="connsiteY52" fmla="*/ 0 h 645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5915980" h="6453336">
                <a:moveTo>
                  <a:pt x="5915980" y="4498631"/>
                </a:moveTo>
                <a:lnTo>
                  <a:pt x="5915980" y="6019246"/>
                </a:lnTo>
                <a:lnTo>
                  <a:pt x="5888334" y="6038498"/>
                </a:lnTo>
                <a:cubicBezTo>
                  <a:pt x="5785368" y="6110204"/>
                  <a:pt x="5658640" y="6198457"/>
                  <a:pt x="5502668" y="6307077"/>
                </a:cubicBezTo>
                <a:cubicBezTo>
                  <a:pt x="5502668" y="6307077"/>
                  <a:pt x="5502668" y="6307077"/>
                  <a:pt x="5502668" y="6402725"/>
                </a:cubicBezTo>
                <a:lnTo>
                  <a:pt x="5502668" y="6453336"/>
                </a:lnTo>
                <a:lnTo>
                  <a:pt x="4366112" y="6453336"/>
                </a:lnTo>
                <a:lnTo>
                  <a:pt x="4366112" y="6391468"/>
                </a:lnTo>
                <a:cubicBezTo>
                  <a:pt x="4366112" y="6275036"/>
                  <a:pt x="4366112" y="6146559"/>
                  <a:pt x="4366112" y="6004791"/>
                </a:cubicBezTo>
                <a:cubicBezTo>
                  <a:pt x="4364972" y="5819352"/>
                  <a:pt x="4455394" y="5646644"/>
                  <a:pt x="4607176" y="5541196"/>
                </a:cubicBezTo>
                <a:cubicBezTo>
                  <a:pt x="4607176" y="5541196"/>
                  <a:pt x="4607176" y="5541196"/>
                  <a:pt x="4706718" y="5472796"/>
                </a:cubicBezTo>
                <a:cubicBezTo>
                  <a:pt x="4706718" y="5472796"/>
                  <a:pt x="4706718" y="5472796"/>
                  <a:pt x="5575804" y="4872594"/>
                </a:cubicBezTo>
                <a:cubicBezTo>
                  <a:pt x="5690068" y="4793507"/>
                  <a:pt x="5787208" y="4695531"/>
                  <a:pt x="5863999" y="4584395"/>
                </a:cubicBezTo>
                <a:close/>
                <a:moveTo>
                  <a:pt x="5506277" y="1160988"/>
                </a:moveTo>
                <a:cubicBezTo>
                  <a:pt x="5623438" y="1161297"/>
                  <a:pt x="5737790" y="1173460"/>
                  <a:pt x="5848204" y="1196339"/>
                </a:cubicBezTo>
                <a:lnTo>
                  <a:pt x="5915980" y="1213943"/>
                </a:lnTo>
                <a:lnTo>
                  <a:pt x="5915980" y="2484699"/>
                </a:lnTo>
                <a:lnTo>
                  <a:pt x="5889766" y="2453828"/>
                </a:lnTo>
                <a:cubicBezTo>
                  <a:pt x="5700118" y="2271728"/>
                  <a:pt x="5402461" y="2242385"/>
                  <a:pt x="5178399" y="2397494"/>
                </a:cubicBezTo>
                <a:cubicBezTo>
                  <a:pt x="5178399" y="2397494"/>
                  <a:pt x="5178399" y="2397494"/>
                  <a:pt x="1908925" y="4660556"/>
                </a:cubicBezTo>
                <a:cubicBezTo>
                  <a:pt x="1885748" y="4675567"/>
                  <a:pt x="1857824" y="4683736"/>
                  <a:pt x="1830089" y="4683736"/>
                </a:cubicBezTo>
                <a:cubicBezTo>
                  <a:pt x="1754863" y="4682596"/>
                  <a:pt x="1694454" y="4619897"/>
                  <a:pt x="1695594" y="4544657"/>
                </a:cubicBezTo>
                <a:cubicBezTo>
                  <a:pt x="1695594" y="4544657"/>
                  <a:pt x="1695594" y="4544657"/>
                  <a:pt x="1695594" y="3720827"/>
                </a:cubicBezTo>
                <a:cubicBezTo>
                  <a:pt x="1694454" y="3535390"/>
                  <a:pt x="1784878" y="3362682"/>
                  <a:pt x="1937799" y="3257233"/>
                </a:cubicBezTo>
                <a:cubicBezTo>
                  <a:pt x="1937799" y="3257233"/>
                  <a:pt x="1937799" y="3257233"/>
                  <a:pt x="4533090" y="1465744"/>
                </a:cubicBezTo>
                <a:cubicBezTo>
                  <a:pt x="4819176" y="1266437"/>
                  <a:pt x="5158642" y="1160988"/>
                  <a:pt x="5506277" y="1160988"/>
                </a:cubicBezTo>
                <a:close/>
                <a:moveTo>
                  <a:pt x="2703866" y="0"/>
                </a:moveTo>
                <a:cubicBezTo>
                  <a:pt x="2779084" y="2471"/>
                  <a:pt x="2837017" y="64987"/>
                  <a:pt x="2834738" y="140235"/>
                </a:cubicBezTo>
                <a:cubicBezTo>
                  <a:pt x="2834738" y="140235"/>
                  <a:pt x="2834738" y="140235"/>
                  <a:pt x="2834738" y="1650323"/>
                </a:cubicBezTo>
                <a:cubicBezTo>
                  <a:pt x="2835877" y="1835782"/>
                  <a:pt x="2746603" y="2009651"/>
                  <a:pt x="2593698" y="2113971"/>
                </a:cubicBezTo>
                <a:cubicBezTo>
                  <a:pt x="2593698" y="2113971"/>
                  <a:pt x="2593698" y="2113971"/>
                  <a:pt x="1621751" y="2786072"/>
                </a:cubicBezTo>
                <a:cubicBezTo>
                  <a:pt x="1315940" y="2995853"/>
                  <a:pt x="1132833" y="3342450"/>
                  <a:pt x="1131693" y="3713178"/>
                </a:cubicBezTo>
                <a:cubicBezTo>
                  <a:pt x="1131693" y="3713178"/>
                  <a:pt x="1131693" y="3713178"/>
                  <a:pt x="1131693" y="4803702"/>
                </a:cubicBezTo>
                <a:cubicBezTo>
                  <a:pt x="1131693" y="4917334"/>
                  <a:pt x="1166454" y="5029635"/>
                  <a:pt x="1231415" y="5123506"/>
                </a:cubicBezTo>
                <a:cubicBezTo>
                  <a:pt x="1408633" y="5380793"/>
                  <a:pt x="1760791" y="5444639"/>
                  <a:pt x="2016836" y="5267350"/>
                </a:cubicBezTo>
                <a:cubicBezTo>
                  <a:pt x="2016836" y="5267350"/>
                  <a:pt x="2016836" y="5267350"/>
                  <a:pt x="5285974" y="3005164"/>
                </a:cubicBezTo>
                <a:cubicBezTo>
                  <a:pt x="5309148" y="2988822"/>
                  <a:pt x="5336880" y="2981982"/>
                  <a:pt x="5365941" y="2981982"/>
                </a:cubicBezTo>
                <a:cubicBezTo>
                  <a:pt x="5441159" y="2984262"/>
                  <a:pt x="5500232" y="3045638"/>
                  <a:pt x="5497953" y="3121076"/>
                </a:cubicBezTo>
                <a:cubicBezTo>
                  <a:pt x="5497953" y="3121076"/>
                  <a:pt x="5497953" y="3121076"/>
                  <a:pt x="5497953" y="3945003"/>
                </a:cubicBezTo>
                <a:cubicBezTo>
                  <a:pt x="5499092" y="4129322"/>
                  <a:pt x="5408679" y="4303000"/>
                  <a:pt x="5256913" y="4408461"/>
                </a:cubicBezTo>
                <a:cubicBezTo>
                  <a:pt x="5256913" y="4408461"/>
                  <a:pt x="5256913" y="4408461"/>
                  <a:pt x="2664357" y="6199017"/>
                </a:cubicBezTo>
                <a:cubicBezTo>
                  <a:pt x="2521899" y="6297543"/>
                  <a:pt x="2366097" y="6373171"/>
                  <a:pt x="2202602" y="6424167"/>
                </a:cubicBezTo>
                <a:lnTo>
                  <a:pt x="2094984" y="6453336"/>
                </a:lnTo>
                <a:lnTo>
                  <a:pt x="1301454" y="6453336"/>
                </a:lnTo>
                <a:lnTo>
                  <a:pt x="1190185" y="6424554"/>
                </a:lnTo>
                <a:cubicBezTo>
                  <a:pt x="499724" y="6208668"/>
                  <a:pt x="-924" y="5563188"/>
                  <a:pt x="2" y="4801422"/>
                </a:cubicBezTo>
                <a:cubicBezTo>
                  <a:pt x="2" y="4801422"/>
                  <a:pt x="2" y="4801422"/>
                  <a:pt x="2" y="3579974"/>
                </a:cubicBezTo>
                <a:cubicBezTo>
                  <a:pt x="2283" y="2924026"/>
                  <a:pt x="325569" y="2311022"/>
                  <a:pt x="865391" y="1938963"/>
                </a:cubicBezTo>
                <a:cubicBezTo>
                  <a:pt x="865391" y="1938963"/>
                  <a:pt x="865391" y="1938963"/>
                  <a:pt x="1699439" y="1359402"/>
                </a:cubicBezTo>
                <a:cubicBezTo>
                  <a:pt x="1699439" y="1359402"/>
                  <a:pt x="1699439" y="1359402"/>
                  <a:pt x="1699439" y="963211"/>
                </a:cubicBezTo>
                <a:cubicBezTo>
                  <a:pt x="1698298" y="778892"/>
                  <a:pt x="1788522" y="605024"/>
                  <a:pt x="1940288" y="499563"/>
                </a:cubicBezTo>
                <a:cubicBezTo>
                  <a:pt x="1940288" y="499563"/>
                  <a:pt x="1940288" y="499563"/>
                  <a:pt x="2621430" y="24323"/>
                </a:cubicBezTo>
                <a:cubicBezTo>
                  <a:pt x="2645933" y="7031"/>
                  <a:pt x="2674805" y="0"/>
                  <a:pt x="2703866" y="0"/>
                </a:cubicBezTo>
                <a:close/>
              </a:path>
            </a:pathLst>
          </a:custGeom>
          <a:solidFill>
            <a:srgbClr val="FCD2A4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1pPr>
          </a:lstStyle>
          <a:p>
            <a:r>
              <a:rPr lang="de-DE"/>
              <a:t>Bild durch Klick </a:t>
            </a:r>
            <a:br>
              <a:rPr lang="de-DE"/>
            </a:br>
            <a:r>
              <a:rPr lang="de-DE"/>
              <a:t>auf das Icon einfügen.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4067FFD-BCCF-73BC-43E8-152AA837DE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9624632" y="404664"/>
            <a:ext cx="2160000" cy="57042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875420" y="1844824"/>
            <a:ext cx="5041193" cy="2016000"/>
          </a:xfrm>
        </p:spPr>
        <p:txBody>
          <a:bodyPr anchor="b"/>
          <a:lstStyle>
            <a:lvl1pPr algn="l"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/>
              <a:t>Titel der </a:t>
            </a:r>
            <a:br>
              <a:rPr lang="de-DE"/>
            </a:br>
            <a:r>
              <a:rPr lang="de-DE"/>
              <a:t>Präsentation</a:t>
            </a:r>
          </a:p>
        </p:txBody>
      </p:sp>
    </p:spTree>
    <p:extLst>
      <p:ext uri="{BB962C8B-B14F-4D97-AF65-F5344CB8AC3E}">
        <p14:creationId xmlns:p14="http://schemas.microsoft.com/office/powerpoint/2010/main" val="2283077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2768120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B292824-07A8-011F-7C3C-9D06D6401B4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139E19B-0666-AC66-F25A-4EBF277C9C1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-1" y="0"/>
            <a:ext cx="8075613" cy="6858000"/>
          </a:xfrm>
          <a:prstGeom prst="rect">
            <a:avLst/>
          </a:prstGeom>
          <a:solidFill>
            <a:srgbClr val="2E2D2C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1pPr>
          </a:lstStyle>
          <a:p>
            <a:r>
              <a:rPr lang="de-DE"/>
              <a:t>Bild durch Klick </a:t>
            </a:r>
            <a:br>
              <a:rPr lang="de-DE"/>
            </a:br>
            <a:r>
              <a:rPr lang="de-DE"/>
              <a:t>auf das Icon einfügen.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4067FFD-BCCF-73BC-43E8-152AA837DE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9624632" y="404664"/>
            <a:ext cx="2160000" cy="570423"/>
          </a:xfrm>
          <a:prstGeom prst="rect">
            <a:avLst/>
          </a:prstGeom>
        </p:spPr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8E62CFD-5359-B606-F1C1-63672C05D360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 bwMode="gray">
          <a:xfrm>
            <a:off x="5915980" y="3248980"/>
            <a:ext cx="4572000" cy="4860342"/>
          </a:xfrm>
          <a:custGeom>
            <a:avLst/>
            <a:gdLst>
              <a:gd name="connsiteX0" fmla="*/ 5507372 w 7201432"/>
              <a:gd name="connsiteY0" fmla="*/ 1160746 h 7655602"/>
              <a:gd name="connsiteX1" fmla="*/ 7201431 w 7201432"/>
              <a:gd name="connsiteY1" fmla="*/ 2861440 h 7655602"/>
              <a:gd name="connsiteX2" fmla="*/ 7201431 w 7201432"/>
              <a:gd name="connsiteY2" fmla="*/ 4077932 h 7655602"/>
              <a:gd name="connsiteX3" fmla="*/ 6335781 w 7201432"/>
              <a:gd name="connsiteY3" fmla="*/ 5726578 h 7655602"/>
              <a:gd name="connsiteX4" fmla="*/ 5503762 w 7201432"/>
              <a:gd name="connsiteY4" fmla="*/ 6305761 h 7655602"/>
              <a:gd name="connsiteX5" fmla="*/ 5503762 w 7201432"/>
              <a:gd name="connsiteY5" fmla="*/ 6697454 h 7655602"/>
              <a:gd name="connsiteX6" fmla="*/ 5262839 w 7201432"/>
              <a:gd name="connsiteY6" fmla="*/ 7160762 h 7655602"/>
              <a:gd name="connsiteX7" fmla="*/ 4580352 w 7201432"/>
              <a:gd name="connsiteY7" fmla="*/ 7631288 h 7655602"/>
              <a:gd name="connsiteX8" fmla="*/ 4498082 w 7201432"/>
              <a:gd name="connsiteY8" fmla="*/ 7655602 h 7655602"/>
              <a:gd name="connsiteX9" fmla="*/ 4366980 w 7201432"/>
              <a:gd name="connsiteY9" fmla="*/ 7515414 h 7655602"/>
              <a:gd name="connsiteX10" fmla="*/ 4366980 w 7201432"/>
              <a:gd name="connsiteY10" fmla="*/ 6003537 h 7655602"/>
              <a:gd name="connsiteX11" fmla="*/ 4608092 w 7201432"/>
              <a:gd name="connsiteY11" fmla="*/ 5540040 h 7655602"/>
              <a:gd name="connsiteX12" fmla="*/ 4707654 w 7201432"/>
              <a:gd name="connsiteY12" fmla="*/ 5471654 h 7655602"/>
              <a:gd name="connsiteX13" fmla="*/ 5576913 w 7201432"/>
              <a:gd name="connsiteY13" fmla="*/ 4871577 h 7655602"/>
              <a:gd name="connsiteX14" fmla="*/ 6064648 w 7201432"/>
              <a:gd name="connsiteY14" fmla="*/ 3944771 h 7655602"/>
              <a:gd name="connsiteX15" fmla="*/ 6064648 w 7201432"/>
              <a:gd name="connsiteY15" fmla="*/ 2860300 h 7655602"/>
              <a:gd name="connsiteX16" fmla="*/ 5965087 w 7201432"/>
              <a:gd name="connsiteY16" fmla="*/ 2540601 h 7655602"/>
              <a:gd name="connsiteX17" fmla="*/ 5179429 w 7201432"/>
              <a:gd name="connsiteY17" fmla="*/ 2396994 h 7655602"/>
              <a:gd name="connsiteX18" fmla="*/ 1909304 w 7201432"/>
              <a:gd name="connsiteY18" fmla="*/ 4659583 h 7655602"/>
              <a:gd name="connsiteX19" fmla="*/ 1830453 w 7201432"/>
              <a:gd name="connsiteY19" fmla="*/ 4682759 h 7655602"/>
              <a:gd name="connsiteX20" fmla="*/ 1695930 w 7201432"/>
              <a:gd name="connsiteY20" fmla="*/ 4543709 h 7655602"/>
              <a:gd name="connsiteX21" fmla="*/ 1695930 w 7201432"/>
              <a:gd name="connsiteY21" fmla="*/ 3720051 h 7655602"/>
              <a:gd name="connsiteX22" fmla="*/ 1938184 w 7201432"/>
              <a:gd name="connsiteY22" fmla="*/ 3256553 h 7655602"/>
              <a:gd name="connsiteX23" fmla="*/ 4533992 w 7201432"/>
              <a:gd name="connsiteY23" fmla="*/ 1465438 h 7655602"/>
              <a:gd name="connsiteX24" fmla="*/ 5507372 w 7201432"/>
              <a:gd name="connsiteY24" fmla="*/ 1160746 h 7655602"/>
              <a:gd name="connsiteX25" fmla="*/ 2704404 w 7201432"/>
              <a:gd name="connsiteY25" fmla="*/ 0 h 7655602"/>
              <a:gd name="connsiteX26" fmla="*/ 2835301 w 7201432"/>
              <a:gd name="connsiteY26" fmla="*/ 140205 h 7655602"/>
              <a:gd name="connsiteX27" fmla="*/ 2835301 w 7201432"/>
              <a:gd name="connsiteY27" fmla="*/ 1649979 h 7655602"/>
              <a:gd name="connsiteX28" fmla="*/ 2594213 w 7201432"/>
              <a:gd name="connsiteY28" fmla="*/ 2113530 h 7655602"/>
              <a:gd name="connsiteX29" fmla="*/ 1622073 w 7201432"/>
              <a:gd name="connsiteY29" fmla="*/ 2785490 h 7655602"/>
              <a:gd name="connsiteX30" fmla="*/ 1131918 w 7201432"/>
              <a:gd name="connsiteY30" fmla="*/ 3712403 h 7655602"/>
              <a:gd name="connsiteX31" fmla="*/ 1131918 w 7201432"/>
              <a:gd name="connsiteY31" fmla="*/ 4802700 h 7655602"/>
              <a:gd name="connsiteX32" fmla="*/ 1231659 w 7201432"/>
              <a:gd name="connsiteY32" fmla="*/ 5122437 h 7655602"/>
              <a:gd name="connsiteX33" fmla="*/ 2017237 w 7201432"/>
              <a:gd name="connsiteY33" fmla="*/ 5266251 h 7655602"/>
              <a:gd name="connsiteX34" fmla="*/ 5287025 w 7201432"/>
              <a:gd name="connsiteY34" fmla="*/ 3004537 h 7655602"/>
              <a:gd name="connsiteX35" fmla="*/ 5367008 w 7201432"/>
              <a:gd name="connsiteY35" fmla="*/ 2981360 h 7655602"/>
              <a:gd name="connsiteX36" fmla="*/ 5499047 w 7201432"/>
              <a:gd name="connsiteY36" fmla="*/ 3120424 h 7655602"/>
              <a:gd name="connsiteX37" fmla="*/ 5499047 w 7201432"/>
              <a:gd name="connsiteY37" fmla="*/ 3944180 h 7655602"/>
              <a:gd name="connsiteX38" fmla="*/ 5257959 w 7201432"/>
              <a:gd name="connsiteY38" fmla="*/ 4407541 h 7655602"/>
              <a:gd name="connsiteX39" fmla="*/ 2664886 w 7201432"/>
              <a:gd name="connsiteY39" fmla="*/ 6197724 h 7655602"/>
              <a:gd name="connsiteX40" fmla="*/ 1695026 w 7201432"/>
              <a:gd name="connsiteY40" fmla="*/ 6500172 h 7655602"/>
              <a:gd name="connsiteX41" fmla="*/ 2 w 7201432"/>
              <a:gd name="connsiteY41" fmla="*/ 4800420 h 7655602"/>
              <a:gd name="connsiteX42" fmla="*/ 2 w 7201432"/>
              <a:gd name="connsiteY42" fmla="*/ 3579227 h 7655602"/>
              <a:gd name="connsiteX43" fmla="*/ 865562 w 7201432"/>
              <a:gd name="connsiteY43" fmla="*/ 1938559 h 7655602"/>
              <a:gd name="connsiteX44" fmla="*/ 1699776 w 7201432"/>
              <a:gd name="connsiteY44" fmla="*/ 1359118 h 7655602"/>
              <a:gd name="connsiteX45" fmla="*/ 1699776 w 7201432"/>
              <a:gd name="connsiteY45" fmla="*/ 963009 h 7655602"/>
              <a:gd name="connsiteX46" fmla="*/ 1940673 w 7201432"/>
              <a:gd name="connsiteY46" fmla="*/ 499458 h 7655602"/>
              <a:gd name="connsiteX47" fmla="*/ 2621951 w 7201432"/>
              <a:gd name="connsiteY47" fmla="*/ 24318 h 7655602"/>
              <a:gd name="connsiteX48" fmla="*/ 2704404 w 7201432"/>
              <a:gd name="connsiteY48" fmla="*/ 0 h 7655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7201432" h="7655602">
                <a:moveTo>
                  <a:pt x="5507372" y="1160746"/>
                </a:moveTo>
                <a:cubicBezTo>
                  <a:pt x="6444843" y="1163215"/>
                  <a:pt x="7202571" y="1924187"/>
                  <a:pt x="7201431" y="2861440"/>
                </a:cubicBezTo>
                <a:cubicBezTo>
                  <a:pt x="7201431" y="2861440"/>
                  <a:pt x="7201431" y="2861440"/>
                  <a:pt x="7201431" y="4077932"/>
                </a:cubicBezTo>
                <a:cubicBezTo>
                  <a:pt x="7201431" y="4735947"/>
                  <a:pt x="6878238" y="5352360"/>
                  <a:pt x="6335781" y="5726578"/>
                </a:cubicBezTo>
                <a:cubicBezTo>
                  <a:pt x="6335781" y="5726578"/>
                  <a:pt x="6335781" y="5726578"/>
                  <a:pt x="5503762" y="6305761"/>
                </a:cubicBezTo>
                <a:cubicBezTo>
                  <a:pt x="5503762" y="6305761"/>
                  <a:pt x="5503762" y="6305761"/>
                  <a:pt x="5503762" y="6697454"/>
                </a:cubicBezTo>
                <a:cubicBezTo>
                  <a:pt x="5504903" y="6881713"/>
                  <a:pt x="5414652" y="7055335"/>
                  <a:pt x="5262839" y="7160762"/>
                </a:cubicBezTo>
                <a:cubicBezTo>
                  <a:pt x="5262839" y="7160762"/>
                  <a:pt x="5262839" y="7160762"/>
                  <a:pt x="4580352" y="7631288"/>
                </a:cubicBezTo>
                <a:cubicBezTo>
                  <a:pt x="4555842" y="7648574"/>
                  <a:pt x="4526962" y="7655602"/>
                  <a:pt x="4498082" y="7655602"/>
                </a:cubicBezTo>
                <a:cubicBezTo>
                  <a:pt x="4422651" y="7653133"/>
                  <a:pt x="4364700" y="7590637"/>
                  <a:pt x="4366980" y="7515414"/>
                </a:cubicBezTo>
                <a:cubicBezTo>
                  <a:pt x="4366980" y="7515414"/>
                  <a:pt x="4366980" y="7515414"/>
                  <a:pt x="4366980" y="6003537"/>
                </a:cubicBezTo>
                <a:cubicBezTo>
                  <a:pt x="4365840" y="5818137"/>
                  <a:pt x="4456281" y="5645466"/>
                  <a:pt x="4608092" y="5540040"/>
                </a:cubicBezTo>
                <a:cubicBezTo>
                  <a:pt x="4608092" y="5540040"/>
                  <a:pt x="4608092" y="5540040"/>
                  <a:pt x="4707654" y="5471654"/>
                </a:cubicBezTo>
                <a:cubicBezTo>
                  <a:pt x="4707654" y="5471654"/>
                  <a:pt x="4707654" y="5471654"/>
                  <a:pt x="5576913" y="4871577"/>
                </a:cubicBezTo>
                <a:cubicBezTo>
                  <a:pt x="5881677" y="4660723"/>
                  <a:pt x="6064648" y="4315570"/>
                  <a:pt x="6064648" y="3944771"/>
                </a:cubicBezTo>
                <a:cubicBezTo>
                  <a:pt x="6064648" y="3944771"/>
                  <a:pt x="6064648" y="3944771"/>
                  <a:pt x="6064648" y="2860300"/>
                </a:cubicBezTo>
                <a:cubicBezTo>
                  <a:pt x="6064648" y="2746896"/>
                  <a:pt x="6029878" y="2634441"/>
                  <a:pt x="5965087" y="2540601"/>
                </a:cubicBezTo>
                <a:cubicBezTo>
                  <a:pt x="5787816" y="2283399"/>
                  <a:pt x="5435551" y="2219763"/>
                  <a:pt x="5179429" y="2396994"/>
                </a:cubicBezTo>
                <a:cubicBezTo>
                  <a:pt x="5179429" y="2396994"/>
                  <a:pt x="5179429" y="2396994"/>
                  <a:pt x="1909304" y="4659583"/>
                </a:cubicBezTo>
                <a:cubicBezTo>
                  <a:pt x="1886123" y="4674591"/>
                  <a:pt x="1858193" y="4682759"/>
                  <a:pt x="1830453" y="4682759"/>
                </a:cubicBezTo>
                <a:cubicBezTo>
                  <a:pt x="1755212" y="4681619"/>
                  <a:pt x="1694791" y="4618933"/>
                  <a:pt x="1695930" y="4543709"/>
                </a:cubicBezTo>
                <a:cubicBezTo>
                  <a:pt x="1695930" y="4543709"/>
                  <a:pt x="1695930" y="4543709"/>
                  <a:pt x="1695930" y="3720051"/>
                </a:cubicBezTo>
                <a:cubicBezTo>
                  <a:pt x="1694791" y="3534652"/>
                  <a:pt x="1785232" y="3361980"/>
                  <a:pt x="1938184" y="3256553"/>
                </a:cubicBezTo>
                <a:cubicBezTo>
                  <a:pt x="1938184" y="3256553"/>
                  <a:pt x="1938184" y="3256553"/>
                  <a:pt x="4533992" y="1465438"/>
                </a:cubicBezTo>
                <a:cubicBezTo>
                  <a:pt x="4820135" y="1266173"/>
                  <a:pt x="5159668" y="1160746"/>
                  <a:pt x="5507372" y="1160746"/>
                </a:cubicBezTo>
                <a:close/>
                <a:moveTo>
                  <a:pt x="2704404" y="0"/>
                </a:moveTo>
                <a:cubicBezTo>
                  <a:pt x="2779637" y="2471"/>
                  <a:pt x="2837581" y="64973"/>
                  <a:pt x="2835301" y="140205"/>
                </a:cubicBezTo>
                <a:cubicBezTo>
                  <a:pt x="2835301" y="140205"/>
                  <a:pt x="2835301" y="140205"/>
                  <a:pt x="2835301" y="1649979"/>
                </a:cubicBezTo>
                <a:cubicBezTo>
                  <a:pt x="2836441" y="1835399"/>
                  <a:pt x="2747149" y="2009232"/>
                  <a:pt x="2594213" y="2113530"/>
                </a:cubicBezTo>
                <a:cubicBezTo>
                  <a:pt x="2594213" y="2113530"/>
                  <a:pt x="2594213" y="2113530"/>
                  <a:pt x="1622073" y="2785490"/>
                </a:cubicBezTo>
                <a:cubicBezTo>
                  <a:pt x="1316201" y="2995228"/>
                  <a:pt x="1133057" y="3341753"/>
                  <a:pt x="1131918" y="3712403"/>
                </a:cubicBezTo>
                <a:cubicBezTo>
                  <a:pt x="1131918" y="3712403"/>
                  <a:pt x="1131918" y="3712403"/>
                  <a:pt x="1131918" y="4802700"/>
                </a:cubicBezTo>
                <a:cubicBezTo>
                  <a:pt x="1131918" y="4916308"/>
                  <a:pt x="1166685" y="5028586"/>
                  <a:pt x="1231659" y="5122437"/>
                </a:cubicBezTo>
                <a:cubicBezTo>
                  <a:pt x="1408912" y="5379670"/>
                  <a:pt x="1761140" y="5443503"/>
                  <a:pt x="2017237" y="5266251"/>
                </a:cubicBezTo>
                <a:cubicBezTo>
                  <a:pt x="2017237" y="5266251"/>
                  <a:pt x="2017237" y="5266251"/>
                  <a:pt x="5287025" y="3004537"/>
                </a:cubicBezTo>
                <a:cubicBezTo>
                  <a:pt x="5310204" y="2988199"/>
                  <a:pt x="5337942" y="2981360"/>
                  <a:pt x="5367008" y="2981360"/>
                </a:cubicBezTo>
                <a:cubicBezTo>
                  <a:pt x="5442241" y="2983640"/>
                  <a:pt x="5501326" y="3045003"/>
                  <a:pt x="5499047" y="3120424"/>
                </a:cubicBezTo>
                <a:cubicBezTo>
                  <a:pt x="5499047" y="3120424"/>
                  <a:pt x="5499047" y="3120424"/>
                  <a:pt x="5499047" y="3944180"/>
                </a:cubicBezTo>
                <a:cubicBezTo>
                  <a:pt x="5500186" y="4128460"/>
                  <a:pt x="5409755" y="4302102"/>
                  <a:pt x="5257959" y="4407541"/>
                </a:cubicBezTo>
                <a:cubicBezTo>
                  <a:pt x="5257959" y="4407541"/>
                  <a:pt x="5257959" y="4407541"/>
                  <a:pt x="2664886" y="6197724"/>
                </a:cubicBezTo>
                <a:cubicBezTo>
                  <a:pt x="2379914" y="6394733"/>
                  <a:pt x="2041554" y="6500172"/>
                  <a:pt x="1695026" y="6500172"/>
                </a:cubicBezTo>
                <a:cubicBezTo>
                  <a:pt x="757653" y="6499033"/>
                  <a:pt x="-1138" y="5737783"/>
                  <a:pt x="2" y="4800420"/>
                </a:cubicBezTo>
                <a:cubicBezTo>
                  <a:pt x="2" y="4800420"/>
                  <a:pt x="2" y="4800420"/>
                  <a:pt x="2" y="3579227"/>
                </a:cubicBezTo>
                <a:cubicBezTo>
                  <a:pt x="2282" y="2923416"/>
                  <a:pt x="325633" y="2310540"/>
                  <a:pt x="865562" y="1938559"/>
                </a:cubicBezTo>
                <a:cubicBezTo>
                  <a:pt x="865562" y="1938559"/>
                  <a:pt x="865562" y="1938559"/>
                  <a:pt x="1699776" y="1359118"/>
                </a:cubicBezTo>
                <a:cubicBezTo>
                  <a:pt x="1699776" y="1359118"/>
                  <a:pt x="1699776" y="1359118"/>
                  <a:pt x="1699776" y="963009"/>
                </a:cubicBezTo>
                <a:cubicBezTo>
                  <a:pt x="1698635" y="778729"/>
                  <a:pt x="1788877" y="604898"/>
                  <a:pt x="1940673" y="499458"/>
                </a:cubicBezTo>
                <a:cubicBezTo>
                  <a:pt x="1940673" y="499458"/>
                  <a:pt x="1940673" y="499458"/>
                  <a:pt x="2621951" y="24318"/>
                </a:cubicBezTo>
                <a:cubicBezTo>
                  <a:pt x="2646458" y="7030"/>
                  <a:pt x="2675336" y="0"/>
                  <a:pt x="2704404" y="0"/>
                </a:cubicBez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solidFill>
              <a:schemeClr val="bg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/>
                </a:solidFill>
              </a:defRPr>
            </a:lvl1pPr>
            <a:lvl2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/>
                </a:solidFill>
              </a:defRPr>
            </a:lvl2pPr>
            <a:lvl3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3pPr>
            <a:lvl4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4pPr>
            <a:lvl5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5pPr>
            <a:lvl6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6pPr>
            <a:lvl7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7pPr>
            <a:lvl8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8pPr>
            <a:lvl9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8436660" y="1850544"/>
            <a:ext cx="3347972" cy="2586280"/>
          </a:xfrm>
          <a:prstGeom prst="rect">
            <a:avLst/>
          </a:prstGeom>
        </p:spPr>
        <p:txBody>
          <a:bodyPr tIns="144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n-lt"/>
              </a:defRPr>
            </a:lvl9pPr>
          </a:lstStyle>
          <a:p>
            <a:r>
              <a:rPr lang="de-DE"/>
              <a:t>Untertitel der Präsentation</a:t>
            </a:r>
          </a:p>
          <a:p>
            <a:pPr lvl="1"/>
            <a:r>
              <a:rPr lang="de-DE"/>
              <a:t>Autor | Datum | Ort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674987" y="1844824"/>
            <a:ext cx="5041193" cy="2592000"/>
          </a:xfrm>
        </p:spPr>
        <p:txBody>
          <a:bodyPr anchor="t"/>
          <a:lstStyle>
            <a:lvl1pPr algn="r">
              <a:defRPr sz="48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Titel der </a:t>
            </a:r>
            <a:br>
              <a:rPr lang="de-DE"/>
            </a:br>
            <a:r>
              <a:rPr lang="de-DE"/>
              <a:t>Präsentation</a:t>
            </a:r>
          </a:p>
        </p:txBody>
      </p:sp>
    </p:spTree>
    <p:extLst>
      <p:ext uri="{BB962C8B-B14F-4D97-AF65-F5344CB8AC3E}">
        <p14:creationId xmlns:p14="http://schemas.microsoft.com/office/powerpoint/2010/main" val="19662877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0C9BB8D-C60B-9324-4715-36DE3EC3BE7D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4F68041E-1A0B-B25A-851F-0C7649821F5D}"/>
              </a:ext>
            </a:extLst>
          </p:cNvPr>
          <p:cNvSpPr>
            <a:spLocks/>
          </p:cNvSpPr>
          <p:nvPr userDrawn="1"/>
        </p:nvSpPr>
        <p:spPr bwMode="gray">
          <a:xfrm>
            <a:off x="0" y="0"/>
            <a:ext cx="5916613" cy="6858000"/>
          </a:xfrm>
          <a:custGeom>
            <a:avLst/>
            <a:gdLst>
              <a:gd name="connsiteX0" fmla="*/ 4082189 w 5916613"/>
              <a:gd name="connsiteY0" fmla="*/ 2582559 h 6858000"/>
              <a:gd name="connsiteX1" fmla="*/ 4214228 w 5916613"/>
              <a:gd name="connsiteY1" fmla="*/ 2721624 h 6858000"/>
              <a:gd name="connsiteX2" fmla="*/ 4214228 w 5916613"/>
              <a:gd name="connsiteY2" fmla="*/ 3545379 h 6858000"/>
              <a:gd name="connsiteX3" fmla="*/ 3973140 w 5916613"/>
              <a:gd name="connsiteY3" fmla="*/ 4008740 h 6858000"/>
              <a:gd name="connsiteX4" fmla="*/ 1380068 w 5916613"/>
              <a:gd name="connsiteY4" fmla="*/ 5798923 h 6858000"/>
              <a:gd name="connsiteX5" fmla="*/ 410207 w 5916613"/>
              <a:gd name="connsiteY5" fmla="*/ 6101371 h 6858000"/>
              <a:gd name="connsiteX6" fmla="*/ 68199 w 5916613"/>
              <a:gd name="connsiteY6" fmla="*/ 6066454 h 6858000"/>
              <a:gd name="connsiteX7" fmla="*/ 0 w 5916613"/>
              <a:gd name="connsiteY7" fmla="*/ 6048820 h 6858000"/>
              <a:gd name="connsiteX8" fmla="*/ 0 w 5916613"/>
              <a:gd name="connsiteY8" fmla="*/ 4786232 h 6858000"/>
              <a:gd name="connsiteX9" fmla="*/ 20983 w 5916613"/>
              <a:gd name="connsiteY9" fmla="*/ 4810939 h 6858000"/>
              <a:gd name="connsiteX10" fmla="*/ 732418 w 5916613"/>
              <a:gd name="connsiteY10" fmla="*/ 4867450 h 6858000"/>
              <a:gd name="connsiteX11" fmla="*/ 4002206 w 5916613"/>
              <a:gd name="connsiteY11" fmla="*/ 2605736 h 6858000"/>
              <a:gd name="connsiteX12" fmla="*/ 4082189 w 5916613"/>
              <a:gd name="connsiteY12" fmla="*/ 2582559 h 6858000"/>
              <a:gd name="connsiteX13" fmla="*/ 4222553 w 5916613"/>
              <a:gd name="connsiteY13" fmla="*/ 761945 h 6858000"/>
              <a:gd name="connsiteX14" fmla="*/ 5916612 w 5916613"/>
              <a:gd name="connsiteY14" fmla="*/ 2462639 h 6858000"/>
              <a:gd name="connsiteX15" fmla="*/ 5916612 w 5916613"/>
              <a:gd name="connsiteY15" fmla="*/ 3679131 h 6858000"/>
              <a:gd name="connsiteX16" fmla="*/ 5050962 w 5916613"/>
              <a:gd name="connsiteY16" fmla="*/ 5327777 h 6858000"/>
              <a:gd name="connsiteX17" fmla="*/ 4218943 w 5916613"/>
              <a:gd name="connsiteY17" fmla="*/ 5906960 h 6858000"/>
              <a:gd name="connsiteX18" fmla="*/ 4218943 w 5916613"/>
              <a:gd name="connsiteY18" fmla="*/ 6298653 h 6858000"/>
              <a:gd name="connsiteX19" fmla="*/ 3978020 w 5916613"/>
              <a:gd name="connsiteY19" fmla="*/ 6761961 h 6858000"/>
              <a:gd name="connsiteX20" fmla="*/ 3892710 w 5916613"/>
              <a:gd name="connsiteY20" fmla="*/ 6820777 h 6858000"/>
              <a:gd name="connsiteX21" fmla="*/ 3838718 w 5916613"/>
              <a:gd name="connsiteY21" fmla="*/ 6858000 h 6858000"/>
              <a:gd name="connsiteX22" fmla="*/ 3082161 w 5916613"/>
              <a:gd name="connsiteY22" fmla="*/ 6858000 h 6858000"/>
              <a:gd name="connsiteX23" fmla="*/ 3082161 w 5916613"/>
              <a:gd name="connsiteY23" fmla="*/ 6847531 h 6858000"/>
              <a:gd name="connsiteX24" fmla="*/ 3082161 w 5916613"/>
              <a:gd name="connsiteY24" fmla="*/ 5604736 h 6858000"/>
              <a:gd name="connsiteX25" fmla="*/ 3323273 w 5916613"/>
              <a:gd name="connsiteY25" fmla="*/ 5141239 h 6858000"/>
              <a:gd name="connsiteX26" fmla="*/ 3422835 w 5916613"/>
              <a:gd name="connsiteY26" fmla="*/ 5072853 h 6858000"/>
              <a:gd name="connsiteX27" fmla="*/ 4292094 w 5916613"/>
              <a:gd name="connsiteY27" fmla="*/ 4472776 h 6858000"/>
              <a:gd name="connsiteX28" fmla="*/ 4779829 w 5916613"/>
              <a:gd name="connsiteY28" fmla="*/ 3545970 h 6858000"/>
              <a:gd name="connsiteX29" fmla="*/ 4779829 w 5916613"/>
              <a:gd name="connsiteY29" fmla="*/ 2461499 h 6858000"/>
              <a:gd name="connsiteX30" fmla="*/ 4680268 w 5916613"/>
              <a:gd name="connsiteY30" fmla="*/ 2141800 h 6858000"/>
              <a:gd name="connsiteX31" fmla="*/ 3894610 w 5916613"/>
              <a:gd name="connsiteY31" fmla="*/ 1998193 h 6858000"/>
              <a:gd name="connsiteX32" fmla="*/ 624485 w 5916613"/>
              <a:gd name="connsiteY32" fmla="*/ 4260782 h 6858000"/>
              <a:gd name="connsiteX33" fmla="*/ 545634 w 5916613"/>
              <a:gd name="connsiteY33" fmla="*/ 4283958 h 6858000"/>
              <a:gd name="connsiteX34" fmla="*/ 411111 w 5916613"/>
              <a:gd name="connsiteY34" fmla="*/ 4144908 h 6858000"/>
              <a:gd name="connsiteX35" fmla="*/ 411111 w 5916613"/>
              <a:gd name="connsiteY35" fmla="*/ 3321250 h 6858000"/>
              <a:gd name="connsiteX36" fmla="*/ 653365 w 5916613"/>
              <a:gd name="connsiteY36" fmla="*/ 2857752 h 6858000"/>
              <a:gd name="connsiteX37" fmla="*/ 3249173 w 5916613"/>
              <a:gd name="connsiteY37" fmla="*/ 1066637 h 6858000"/>
              <a:gd name="connsiteX38" fmla="*/ 4222553 w 5916613"/>
              <a:gd name="connsiteY38" fmla="*/ 761945 h 6858000"/>
              <a:gd name="connsiteX39" fmla="*/ 800181 w 5916613"/>
              <a:gd name="connsiteY39" fmla="*/ 0 h 6858000"/>
              <a:gd name="connsiteX40" fmla="*/ 1550482 w 5916613"/>
              <a:gd name="connsiteY40" fmla="*/ 0 h 6858000"/>
              <a:gd name="connsiteX41" fmla="*/ 1550482 w 5916613"/>
              <a:gd name="connsiteY41" fmla="*/ 10112 h 6858000"/>
              <a:gd name="connsiteX42" fmla="*/ 1550482 w 5916613"/>
              <a:gd name="connsiteY42" fmla="*/ 1251178 h 6858000"/>
              <a:gd name="connsiteX43" fmla="*/ 1309395 w 5916613"/>
              <a:gd name="connsiteY43" fmla="*/ 1714729 h 6858000"/>
              <a:gd name="connsiteX44" fmla="*/ 337254 w 5916613"/>
              <a:gd name="connsiteY44" fmla="*/ 2386689 h 6858000"/>
              <a:gd name="connsiteX45" fmla="*/ 48050 w 5916613"/>
              <a:gd name="connsiteY45" fmla="*/ 2674410 h 6858000"/>
              <a:gd name="connsiteX46" fmla="*/ 0 w 5916613"/>
              <a:gd name="connsiteY46" fmla="*/ 2753451 h 6858000"/>
              <a:gd name="connsiteX47" fmla="*/ 0 w 5916613"/>
              <a:gd name="connsiteY47" fmla="*/ 1248544 h 6858000"/>
              <a:gd name="connsiteX48" fmla="*/ 28196 w 5916613"/>
              <a:gd name="connsiteY48" fmla="*/ 1228959 h 6858000"/>
              <a:gd name="connsiteX49" fmla="*/ 414957 w 5916613"/>
              <a:gd name="connsiteY49" fmla="*/ 960317 h 6858000"/>
              <a:gd name="connsiteX50" fmla="*/ 414957 w 5916613"/>
              <a:gd name="connsiteY50" fmla="*/ 564209 h 6858000"/>
              <a:gd name="connsiteX51" fmla="*/ 655854 w 5916613"/>
              <a:gd name="connsiteY51" fmla="*/ 100657 h 6858000"/>
              <a:gd name="connsiteX52" fmla="*/ 741014 w 5916613"/>
              <a:gd name="connsiteY52" fmla="*/ 4126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5916613" h="6858000">
                <a:moveTo>
                  <a:pt x="4082189" y="2582559"/>
                </a:moveTo>
                <a:cubicBezTo>
                  <a:pt x="4157422" y="2584839"/>
                  <a:pt x="4216507" y="2646202"/>
                  <a:pt x="4214228" y="2721624"/>
                </a:cubicBezTo>
                <a:cubicBezTo>
                  <a:pt x="4214228" y="2721624"/>
                  <a:pt x="4214228" y="2721624"/>
                  <a:pt x="4214228" y="3545379"/>
                </a:cubicBezTo>
                <a:cubicBezTo>
                  <a:pt x="4215367" y="3729659"/>
                  <a:pt x="4124936" y="3903301"/>
                  <a:pt x="3973140" y="4008740"/>
                </a:cubicBezTo>
                <a:cubicBezTo>
                  <a:pt x="3973140" y="4008740"/>
                  <a:pt x="3973140" y="4008740"/>
                  <a:pt x="1380068" y="5798923"/>
                </a:cubicBezTo>
                <a:cubicBezTo>
                  <a:pt x="1095095" y="5995932"/>
                  <a:pt x="756736" y="6101371"/>
                  <a:pt x="410207" y="6101371"/>
                </a:cubicBezTo>
                <a:cubicBezTo>
                  <a:pt x="293036" y="6101229"/>
                  <a:pt x="178654" y="6089210"/>
                  <a:pt x="68199" y="6066454"/>
                </a:cubicBezTo>
                <a:lnTo>
                  <a:pt x="0" y="6048820"/>
                </a:lnTo>
                <a:lnTo>
                  <a:pt x="0" y="4786232"/>
                </a:lnTo>
                <a:lnTo>
                  <a:pt x="20983" y="4810939"/>
                </a:lnTo>
                <a:cubicBezTo>
                  <a:pt x="210648" y="4993060"/>
                  <a:pt x="508333" y="5022546"/>
                  <a:pt x="732418" y="4867450"/>
                </a:cubicBezTo>
                <a:cubicBezTo>
                  <a:pt x="732418" y="4867450"/>
                  <a:pt x="732418" y="4867450"/>
                  <a:pt x="4002206" y="2605736"/>
                </a:cubicBezTo>
                <a:cubicBezTo>
                  <a:pt x="4025385" y="2589398"/>
                  <a:pt x="4053123" y="2582559"/>
                  <a:pt x="4082189" y="2582559"/>
                </a:cubicBezTo>
                <a:close/>
                <a:moveTo>
                  <a:pt x="4222553" y="761945"/>
                </a:moveTo>
                <a:cubicBezTo>
                  <a:pt x="5160024" y="764414"/>
                  <a:pt x="5917752" y="1525386"/>
                  <a:pt x="5916612" y="2462639"/>
                </a:cubicBezTo>
                <a:cubicBezTo>
                  <a:pt x="5916612" y="2462639"/>
                  <a:pt x="5916612" y="2462639"/>
                  <a:pt x="5916612" y="3679131"/>
                </a:cubicBezTo>
                <a:cubicBezTo>
                  <a:pt x="5916612" y="4337146"/>
                  <a:pt x="5593419" y="4953559"/>
                  <a:pt x="5050962" y="5327777"/>
                </a:cubicBezTo>
                <a:cubicBezTo>
                  <a:pt x="5050962" y="5327777"/>
                  <a:pt x="5050962" y="5327777"/>
                  <a:pt x="4218943" y="5906960"/>
                </a:cubicBezTo>
                <a:cubicBezTo>
                  <a:pt x="4218943" y="5906960"/>
                  <a:pt x="4218943" y="5906960"/>
                  <a:pt x="4218943" y="6298653"/>
                </a:cubicBezTo>
                <a:cubicBezTo>
                  <a:pt x="4220084" y="6482912"/>
                  <a:pt x="4129833" y="6656534"/>
                  <a:pt x="3978020" y="6761961"/>
                </a:cubicBezTo>
                <a:cubicBezTo>
                  <a:pt x="3978020" y="6761961"/>
                  <a:pt x="3978020" y="6761961"/>
                  <a:pt x="3892710" y="6820777"/>
                </a:cubicBezTo>
                <a:lnTo>
                  <a:pt x="3838718" y="6858000"/>
                </a:lnTo>
                <a:lnTo>
                  <a:pt x="3082161" y="6858000"/>
                </a:lnTo>
                <a:lnTo>
                  <a:pt x="3082161" y="6847531"/>
                </a:lnTo>
                <a:cubicBezTo>
                  <a:pt x="3082161" y="6638246"/>
                  <a:pt x="3082161" y="6266182"/>
                  <a:pt x="3082161" y="5604736"/>
                </a:cubicBezTo>
                <a:cubicBezTo>
                  <a:pt x="3081021" y="5419336"/>
                  <a:pt x="3171462" y="5246665"/>
                  <a:pt x="3323273" y="5141239"/>
                </a:cubicBezTo>
                <a:cubicBezTo>
                  <a:pt x="3323273" y="5141239"/>
                  <a:pt x="3323273" y="5141239"/>
                  <a:pt x="3422835" y="5072853"/>
                </a:cubicBezTo>
                <a:cubicBezTo>
                  <a:pt x="3422835" y="5072853"/>
                  <a:pt x="3422835" y="5072853"/>
                  <a:pt x="4292094" y="4472776"/>
                </a:cubicBezTo>
                <a:cubicBezTo>
                  <a:pt x="4596858" y="4261922"/>
                  <a:pt x="4779829" y="3916769"/>
                  <a:pt x="4779829" y="3545970"/>
                </a:cubicBezTo>
                <a:cubicBezTo>
                  <a:pt x="4779829" y="3545970"/>
                  <a:pt x="4779829" y="3545970"/>
                  <a:pt x="4779829" y="2461499"/>
                </a:cubicBezTo>
                <a:cubicBezTo>
                  <a:pt x="4779829" y="2348095"/>
                  <a:pt x="4745060" y="2235640"/>
                  <a:pt x="4680268" y="2141800"/>
                </a:cubicBezTo>
                <a:cubicBezTo>
                  <a:pt x="4502997" y="1884598"/>
                  <a:pt x="4150732" y="1820962"/>
                  <a:pt x="3894610" y="1998193"/>
                </a:cubicBezTo>
                <a:cubicBezTo>
                  <a:pt x="3894610" y="1998193"/>
                  <a:pt x="3894610" y="1998193"/>
                  <a:pt x="624485" y="4260782"/>
                </a:cubicBezTo>
                <a:cubicBezTo>
                  <a:pt x="601304" y="4275790"/>
                  <a:pt x="573374" y="4283958"/>
                  <a:pt x="545634" y="4283958"/>
                </a:cubicBezTo>
                <a:cubicBezTo>
                  <a:pt x="470393" y="4282818"/>
                  <a:pt x="409972" y="4220132"/>
                  <a:pt x="411111" y="4144908"/>
                </a:cubicBezTo>
                <a:cubicBezTo>
                  <a:pt x="411111" y="4144908"/>
                  <a:pt x="411111" y="4144908"/>
                  <a:pt x="411111" y="3321250"/>
                </a:cubicBezTo>
                <a:cubicBezTo>
                  <a:pt x="409972" y="3135851"/>
                  <a:pt x="500414" y="2963179"/>
                  <a:pt x="653365" y="2857752"/>
                </a:cubicBezTo>
                <a:cubicBezTo>
                  <a:pt x="653365" y="2857752"/>
                  <a:pt x="653365" y="2857752"/>
                  <a:pt x="3249173" y="1066637"/>
                </a:cubicBezTo>
                <a:cubicBezTo>
                  <a:pt x="3535316" y="867372"/>
                  <a:pt x="3874849" y="761945"/>
                  <a:pt x="4222553" y="761945"/>
                </a:cubicBezTo>
                <a:close/>
                <a:moveTo>
                  <a:pt x="800181" y="0"/>
                </a:moveTo>
                <a:lnTo>
                  <a:pt x="1550482" y="0"/>
                </a:lnTo>
                <a:lnTo>
                  <a:pt x="1550482" y="10112"/>
                </a:lnTo>
                <a:cubicBezTo>
                  <a:pt x="1550482" y="219106"/>
                  <a:pt x="1550482" y="590652"/>
                  <a:pt x="1550482" y="1251178"/>
                </a:cubicBezTo>
                <a:cubicBezTo>
                  <a:pt x="1551622" y="1436598"/>
                  <a:pt x="1462330" y="1610431"/>
                  <a:pt x="1309395" y="1714729"/>
                </a:cubicBezTo>
                <a:cubicBezTo>
                  <a:pt x="1309395" y="1714729"/>
                  <a:pt x="1309395" y="1714729"/>
                  <a:pt x="337254" y="2386689"/>
                </a:cubicBezTo>
                <a:cubicBezTo>
                  <a:pt x="222552" y="2465341"/>
                  <a:pt x="125109" y="2563228"/>
                  <a:pt x="48050" y="2674410"/>
                </a:cubicBezTo>
                <a:lnTo>
                  <a:pt x="0" y="2753451"/>
                </a:lnTo>
                <a:lnTo>
                  <a:pt x="0" y="1248544"/>
                </a:lnTo>
                <a:lnTo>
                  <a:pt x="28196" y="1228959"/>
                </a:lnTo>
                <a:cubicBezTo>
                  <a:pt x="131455" y="1157236"/>
                  <a:pt x="258542" y="1068962"/>
                  <a:pt x="414957" y="960317"/>
                </a:cubicBezTo>
                <a:cubicBezTo>
                  <a:pt x="414957" y="960317"/>
                  <a:pt x="414957" y="960317"/>
                  <a:pt x="414957" y="564209"/>
                </a:cubicBezTo>
                <a:cubicBezTo>
                  <a:pt x="413816" y="379928"/>
                  <a:pt x="504058" y="206097"/>
                  <a:pt x="655854" y="100657"/>
                </a:cubicBezTo>
                <a:cubicBezTo>
                  <a:pt x="655854" y="100657"/>
                  <a:pt x="655854" y="100657"/>
                  <a:pt x="741014" y="41265"/>
                </a:cubicBez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375920" y="1196992"/>
            <a:ext cx="5941368" cy="2160000"/>
          </a:xfrm>
        </p:spPr>
        <p:txBody>
          <a:bodyPr anchor="b"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de-DE"/>
              <a:t>Name des aktuellen Kapitel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5375920" y="3717032"/>
            <a:ext cx="4536000" cy="93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Optionale Kurzbeschreibung des aktuellen Kapitels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070A320-0CFE-6369-8DC3-30D4065C65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675620" y="1773399"/>
            <a:ext cx="2339677" cy="1620000"/>
          </a:xfrm>
        </p:spPr>
        <p:txBody>
          <a:bodyPr wrap="none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800" b="1">
                <a:ln w="9525">
                  <a:noFill/>
                </a:ln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800" b="1">
                <a:ln w="9525">
                  <a:noFill/>
                </a:ln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800" b="1">
                <a:ln w="9525">
                  <a:noFill/>
                </a:ln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800" b="1">
                <a:ln w="9525">
                  <a:noFill/>
                </a:ln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800" b="1">
                <a:ln w="9525">
                  <a:noFill/>
                </a:ln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800" b="1">
                <a:ln w="9525">
                  <a:noFill/>
                </a:ln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800" b="1">
                <a:ln w="9525">
                  <a:noFill/>
                </a:ln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800" b="1">
                <a:ln w="9525">
                  <a:noFill/>
                </a:ln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800" b="1">
                <a:ln w="9525">
                  <a:noFill/>
                </a:ln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00</a:t>
            </a:r>
          </a:p>
          <a:p>
            <a:pPr lvl="1"/>
            <a:r>
              <a:rPr lang="de-DE"/>
              <a:t>2</a:t>
            </a:r>
          </a:p>
          <a:p>
            <a:pPr lvl="2"/>
            <a:r>
              <a:rPr lang="de-DE"/>
              <a:t>3</a:t>
            </a:r>
          </a:p>
          <a:p>
            <a:pPr lvl="3"/>
            <a:r>
              <a:rPr lang="de-DE"/>
              <a:t>4</a:t>
            </a:r>
          </a:p>
          <a:p>
            <a:pPr lvl="4"/>
            <a:r>
              <a:rPr lang="de-DE"/>
              <a:t>5</a:t>
            </a:r>
          </a:p>
          <a:p>
            <a:pPr lvl="5"/>
            <a:r>
              <a:rPr lang="de-DE"/>
              <a:t>6</a:t>
            </a:r>
          </a:p>
          <a:p>
            <a:pPr lvl="6"/>
            <a:r>
              <a:rPr lang="de-DE"/>
              <a:t>7</a:t>
            </a:r>
          </a:p>
          <a:p>
            <a:pPr lvl="7"/>
            <a:r>
              <a:rPr lang="de-DE"/>
              <a:t>8</a:t>
            </a:r>
          </a:p>
          <a:p>
            <a:pPr lvl="8"/>
            <a:r>
              <a:rPr lang="de-DE"/>
              <a:t>9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2D290FCC-4C63-1BB1-A610-5E2997445854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D1BA77-AF83-4946-BF9B-0BA16262650E}" type="datetime1">
              <a:rPr lang="de-DE" smtClean="0"/>
              <a:t>21.06.2024</a:t>
            </a:fld>
            <a:endParaRPr lang="de-DE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CFD540A9-6CA0-494F-9FB6-83228539F57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1F2C77E8-6470-FECD-111C-695BB767F4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FAF3F9-DB4A-4795-B69B-3AD29566E07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74271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875420" y="1844824"/>
            <a:ext cx="10440000" cy="4320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Folientitel</a:t>
            </a:r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D81F9EA7-FA43-CDBE-2C98-C7B0B993274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407368" y="368660"/>
            <a:ext cx="10009084" cy="28800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9pPr>
          </a:lstStyle>
          <a:p>
            <a:r>
              <a:rPr lang="de-DE"/>
              <a:t>Untertitel der Foli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D0940363-1241-78DD-58F5-868CB3226728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4D2DF2D9-0E9C-44C1-9F88-571B4F8E5F65}" type="datetime1">
              <a:rPr lang="de-DE" smtClean="0"/>
              <a:t>21.06.2024</a:t>
            </a:fld>
            <a:endParaRPr lang="de-DE"/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DC0B5F8A-4FD1-C690-4183-6FFE606AA65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38F7CE60-023A-9EF0-9C1B-B095405F25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5DFAF3F9-DB4A-4795-B69B-3AD29566E07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7699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Folientit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875420" y="1844824"/>
            <a:ext cx="5040000" cy="4320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 bwMode="gray">
          <a:xfrm>
            <a:off x="6276020" y="1844824"/>
            <a:ext cx="5040000" cy="4320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1896C21A-8E67-FD29-8C36-BFED48EEEFC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407368" y="368660"/>
            <a:ext cx="10009084" cy="28800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9pPr>
          </a:lstStyle>
          <a:p>
            <a:r>
              <a:rPr lang="de-DE"/>
              <a:t>Untertitel der Foli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CCB2F951-32E4-DCA0-A220-C209C2A7EA70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058A8488-086B-46BE-B1A2-94B6A4FABF2C}" type="datetime1">
              <a:rPr lang="de-DE" smtClean="0"/>
              <a:t>21.06.2024</a:t>
            </a:fld>
            <a:endParaRPr lang="de-DE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4C2FEEF9-9B76-8217-5B3D-FF4F173A2D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34E6321F-21AC-105F-2148-73EE173663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5DFAF3F9-DB4A-4795-B69B-3AD29566E07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2820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875420" y="1844824"/>
            <a:ext cx="5041193" cy="4320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76020" y="0"/>
            <a:ext cx="5915980" cy="6165850"/>
          </a:xfrm>
          <a:prstGeom prst="rect">
            <a:avLst/>
          </a:prstGeom>
          <a:solidFill>
            <a:srgbClr val="2E2D2C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Bild durch Klick </a:t>
            </a:r>
            <a:br>
              <a:rPr lang="de-DE"/>
            </a:br>
            <a:r>
              <a:rPr lang="de-DE"/>
              <a:t>auf das Icon einfügen.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F0EF9331-D6B5-DA56-436A-C3F817B3CA66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 bwMode="gray">
          <a:xfrm>
            <a:off x="407368" y="368660"/>
            <a:ext cx="5509245" cy="28800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9pPr>
          </a:lstStyle>
          <a:p>
            <a:r>
              <a:rPr lang="de-DE"/>
              <a:t>Untertitel der Foli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38D7B79F-CA9B-6966-85EA-F426C8F9C5CE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993C8A33-2154-4EAC-B0F4-4A3825342DBB}" type="datetime1">
              <a:rPr lang="de-DE" smtClean="0"/>
              <a:t>21.06.2024</a:t>
            </a:fld>
            <a:endParaRPr lang="de-DE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5079953A-BF18-B386-ED87-972890058B5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DB17899D-BBB7-C0CC-E94B-70793C5450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5DFAF3F9-DB4A-4795-B69B-3AD29566E077}" type="slidenum">
              <a:rPr lang="de-DE" smtClean="0"/>
              <a:t>‹#›</a:t>
            </a:fld>
            <a:endParaRPr lang="de-DE"/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521EEA5C-08E7-CF61-1D6F-180D4CC2FF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1460644" y="332656"/>
            <a:ext cx="432000" cy="4644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/>
                </a:solidFill>
              </a:defRPr>
            </a:lvl1pPr>
            <a:lvl2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/>
                </a:solidFill>
              </a:defRPr>
            </a:lvl2pPr>
            <a:lvl3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3pPr>
            <a:lvl4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4pPr>
            <a:lvl5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5pPr>
            <a:lvl6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6pPr>
            <a:lvl7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7pPr>
            <a:lvl8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8pPr>
            <a:lvl9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24ED65F1-D300-EF9F-6305-5CC2871A8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728700"/>
            <a:ext cx="5509245" cy="432000"/>
          </a:xfrm>
        </p:spPr>
        <p:txBody>
          <a:bodyPr/>
          <a:lstStyle/>
          <a:p>
            <a:r>
              <a:rPr lang="de-DE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7268374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6276020" y="1844824"/>
            <a:ext cx="5041193" cy="4320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5915980" cy="6164824"/>
          </a:xfrm>
          <a:prstGeom prst="rect">
            <a:avLst/>
          </a:prstGeom>
          <a:solidFill>
            <a:srgbClr val="2E2D2C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Bild durch Klick </a:t>
            </a:r>
            <a:br>
              <a:rPr lang="de-DE"/>
            </a:br>
            <a:r>
              <a:rPr lang="de-DE"/>
              <a:t>auf das Icon einfügen.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F0EF9331-D6B5-DA56-436A-C3F817B3CA66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 bwMode="gray">
          <a:xfrm>
            <a:off x="6276019" y="368660"/>
            <a:ext cx="4680000" cy="28800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9pPr>
          </a:lstStyle>
          <a:p>
            <a:r>
              <a:rPr lang="de-DE"/>
              <a:t>Untertitel der Foli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38D7B79F-CA9B-6966-85EA-F426C8F9C5CE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FB57B3D-F73A-4243-AD29-E5F7DC1A92B6}" type="datetime1">
              <a:rPr lang="de-DE" smtClean="0"/>
              <a:pPr/>
              <a:t>21.06.2024</a:t>
            </a:fld>
            <a:endParaRPr lang="de-DE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5079953A-BF18-B386-ED87-972890058B5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DB17899D-BBB7-C0CC-E94B-70793C5450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DFAF3F9-DB4A-4795-B69B-3AD29566E07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CDEA7D3-DC93-9702-E62A-BAA911ADA2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76020" y="728700"/>
            <a:ext cx="4680000" cy="432000"/>
          </a:xfrm>
        </p:spPr>
        <p:txBody>
          <a:bodyPr/>
          <a:lstStyle/>
          <a:p>
            <a:r>
              <a:rPr lang="de-DE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4707946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2E2D2C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Bild durch Klick </a:t>
            </a:r>
            <a:br>
              <a:rPr lang="de-DE"/>
            </a:br>
            <a:r>
              <a:rPr lang="de-DE"/>
              <a:t>auf das Icon einfügen.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3AE0E523-B1A2-9B59-4AD2-BE80EE9A0024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BB24920-AD94-4F7E-AD8B-426777405665}" type="datetime1">
              <a:rPr lang="de-DE" smtClean="0"/>
              <a:t>21.06.2024</a:t>
            </a:fld>
            <a:endParaRPr lang="de-DE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9267ADFB-0EA5-5A6A-A6F5-F7F0B856007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D9450C56-72F7-F09E-4435-D636CB62B11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FAF3F9-DB4A-4795-B69B-3AD29566E07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C27BBFA5-AD4F-CBBF-D7DD-51FF0146E3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1460644" y="332656"/>
            <a:ext cx="432000" cy="4644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/>
                </a:solidFill>
              </a:defRPr>
            </a:lvl1pPr>
            <a:lvl2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/>
                </a:solidFill>
              </a:defRPr>
            </a:lvl2pPr>
            <a:lvl3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3pPr>
            <a:lvl4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4pPr>
            <a:lvl5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5pPr>
            <a:lvl6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6pPr>
            <a:lvl7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7pPr>
            <a:lvl8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8pPr>
            <a:lvl9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463018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Folientitel</a:t>
            </a:r>
          </a:p>
        </p:txBody>
      </p:sp>
      <p:sp>
        <p:nvSpPr>
          <p:cNvPr id="12" name="Untertitel 2">
            <a:extLst>
              <a:ext uri="{FF2B5EF4-FFF2-40B4-BE49-F238E27FC236}">
                <a16:creationId xmlns:a16="http://schemas.microsoft.com/office/drawing/2014/main" id="{9B2BFFBD-5570-E446-1D96-8CE156FF795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gray">
          <a:xfrm>
            <a:off x="407368" y="368660"/>
            <a:ext cx="10009084" cy="28800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latin typeface="+mn-lt"/>
              </a:defRPr>
            </a:lvl9pPr>
          </a:lstStyle>
          <a:p>
            <a:r>
              <a:rPr lang="de-DE"/>
              <a:t>Untertitel der Foli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ED4441ED-D3CD-18FF-6950-4BEDD3B6495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9F6EFA60-EFC0-438E-8816-2E2DD4C3BBDE}" type="datetime1">
              <a:rPr lang="de-DE" smtClean="0"/>
              <a:t>21.06.2024</a:t>
            </a:fld>
            <a:endParaRPr lang="de-DE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E8A668CB-F28E-694F-9E05-EEFD4705F5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6AC7FF1F-79FC-9921-1959-E9D687599AD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5DFAF3F9-DB4A-4795-B69B-3AD29566E07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67608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dunkel">
    <p:bg>
      <p:bgPr>
        <a:solidFill>
          <a:srgbClr val="2E2D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lientitel</a:t>
            </a:r>
          </a:p>
        </p:txBody>
      </p:sp>
      <p:sp>
        <p:nvSpPr>
          <p:cNvPr id="12" name="Untertitel 2">
            <a:extLst>
              <a:ext uri="{FF2B5EF4-FFF2-40B4-BE49-F238E27FC236}">
                <a16:creationId xmlns:a16="http://schemas.microsoft.com/office/drawing/2014/main" id="{9B2BFFBD-5570-E446-1D96-8CE156FF795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 bwMode="invGray">
          <a:xfrm>
            <a:off x="407368" y="368660"/>
            <a:ext cx="10009084" cy="28800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Untertitel der Foli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ED4441ED-D3CD-18FF-6950-4BEDD3B6495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F6EFA60-EFC0-438E-8816-2E2DD4C3BBDE}" type="datetime1">
              <a:rPr lang="de-DE" smtClean="0"/>
              <a:pPr/>
              <a:t>21.06.2024</a:t>
            </a:fld>
            <a:endParaRPr lang="de-DE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E8A668CB-F28E-694F-9E05-EEFD4705F5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6AC7FF1F-79FC-9921-1959-E9D687599AD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FAF3F9-DB4A-4795-B69B-3AD29566E07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157024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AA79292B-9030-FA8C-1312-2542D04AF6E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7E2F839-FE06-4235-A445-7C49644D6581}" type="datetime1">
              <a:rPr lang="de-DE" smtClean="0"/>
              <a:t>21.06.2024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CBE75CCB-1805-3AAA-8A18-D8C43550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E860FCED-47BA-A117-C9BC-62A1B77163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5DFAF3F9-DB4A-4795-B69B-3AD29566E07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20690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704843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/>
              <a:t>© 2022 Catena-X or a Catena-X affiliate company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168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B292824-07A8-011F-7C3C-9D06D6401B48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3DDBBA95-24E5-DFF8-AF34-A0FBD1264B8B}"/>
              </a:ext>
            </a:extLst>
          </p:cNvPr>
          <p:cNvSpPr>
            <a:spLocks/>
          </p:cNvSpPr>
          <p:nvPr userDrawn="1"/>
        </p:nvSpPr>
        <p:spPr bwMode="gray">
          <a:xfrm>
            <a:off x="6276020" y="404664"/>
            <a:ext cx="5915980" cy="6453336"/>
          </a:xfrm>
          <a:custGeom>
            <a:avLst/>
            <a:gdLst>
              <a:gd name="connsiteX0" fmla="*/ 5915980 w 5915980"/>
              <a:gd name="connsiteY0" fmla="*/ 4499633 h 6453336"/>
              <a:gd name="connsiteX1" fmla="*/ 5915980 w 5915980"/>
              <a:gd name="connsiteY1" fmla="*/ 6018809 h 6453336"/>
              <a:gd name="connsiteX2" fmla="*/ 5889506 w 5915980"/>
              <a:gd name="connsiteY2" fmla="*/ 6037238 h 6453336"/>
              <a:gd name="connsiteX3" fmla="*/ 5503762 w 5915980"/>
              <a:gd name="connsiteY3" fmla="*/ 6305761 h 6453336"/>
              <a:gd name="connsiteX4" fmla="*/ 5503762 w 5915980"/>
              <a:gd name="connsiteY4" fmla="*/ 6401389 h 6453336"/>
              <a:gd name="connsiteX5" fmla="*/ 5503762 w 5915980"/>
              <a:gd name="connsiteY5" fmla="*/ 6453336 h 6453336"/>
              <a:gd name="connsiteX6" fmla="*/ 4366980 w 5915980"/>
              <a:gd name="connsiteY6" fmla="*/ 6453336 h 6453336"/>
              <a:gd name="connsiteX7" fmla="*/ 4366980 w 5915980"/>
              <a:gd name="connsiteY7" fmla="*/ 6390134 h 6453336"/>
              <a:gd name="connsiteX8" fmla="*/ 4366980 w 5915980"/>
              <a:gd name="connsiteY8" fmla="*/ 6003537 h 6453336"/>
              <a:gd name="connsiteX9" fmla="*/ 4608093 w 5915980"/>
              <a:gd name="connsiteY9" fmla="*/ 5540040 h 6453336"/>
              <a:gd name="connsiteX10" fmla="*/ 4707655 w 5915980"/>
              <a:gd name="connsiteY10" fmla="*/ 5471654 h 6453336"/>
              <a:gd name="connsiteX11" fmla="*/ 5576914 w 5915980"/>
              <a:gd name="connsiteY11" fmla="*/ 4871577 h 6453336"/>
              <a:gd name="connsiteX12" fmla="*/ 5865166 w 5915980"/>
              <a:gd name="connsiteY12" fmla="*/ 4583439 h 6453336"/>
              <a:gd name="connsiteX13" fmla="*/ 5507372 w 5915980"/>
              <a:gd name="connsiteY13" fmla="*/ 1160746 h 6453336"/>
              <a:gd name="connsiteX14" fmla="*/ 5849367 w 5915980"/>
              <a:gd name="connsiteY14" fmla="*/ 1196089 h 6453336"/>
              <a:gd name="connsiteX15" fmla="*/ 5915980 w 5915980"/>
              <a:gd name="connsiteY15" fmla="*/ 1213384 h 6453336"/>
              <a:gd name="connsiteX16" fmla="*/ 5915980 w 5915980"/>
              <a:gd name="connsiteY16" fmla="*/ 2482794 h 6453336"/>
              <a:gd name="connsiteX17" fmla="*/ 5890938 w 5915980"/>
              <a:gd name="connsiteY17" fmla="*/ 2453316 h 6453336"/>
              <a:gd name="connsiteX18" fmla="*/ 5179430 w 5915980"/>
              <a:gd name="connsiteY18" fmla="*/ 2396994 h 6453336"/>
              <a:gd name="connsiteX19" fmla="*/ 1909305 w 5915980"/>
              <a:gd name="connsiteY19" fmla="*/ 4659583 h 6453336"/>
              <a:gd name="connsiteX20" fmla="*/ 1830454 w 5915980"/>
              <a:gd name="connsiteY20" fmla="*/ 4682759 h 6453336"/>
              <a:gd name="connsiteX21" fmla="*/ 1695931 w 5915980"/>
              <a:gd name="connsiteY21" fmla="*/ 4543709 h 6453336"/>
              <a:gd name="connsiteX22" fmla="*/ 1695931 w 5915980"/>
              <a:gd name="connsiteY22" fmla="*/ 3720051 h 6453336"/>
              <a:gd name="connsiteX23" fmla="*/ 1938185 w 5915980"/>
              <a:gd name="connsiteY23" fmla="*/ 3256553 h 6453336"/>
              <a:gd name="connsiteX24" fmla="*/ 4533992 w 5915980"/>
              <a:gd name="connsiteY24" fmla="*/ 1465438 h 6453336"/>
              <a:gd name="connsiteX25" fmla="*/ 5507372 w 5915980"/>
              <a:gd name="connsiteY25" fmla="*/ 1160746 h 6453336"/>
              <a:gd name="connsiteX26" fmla="*/ 2704404 w 5915980"/>
              <a:gd name="connsiteY26" fmla="*/ 0 h 6453336"/>
              <a:gd name="connsiteX27" fmla="*/ 2835302 w 5915980"/>
              <a:gd name="connsiteY27" fmla="*/ 140205 h 6453336"/>
              <a:gd name="connsiteX28" fmla="*/ 2835302 w 5915980"/>
              <a:gd name="connsiteY28" fmla="*/ 1649979 h 6453336"/>
              <a:gd name="connsiteX29" fmla="*/ 2594214 w 5915980"/>
              <a:gd name="connsiteY29" fmla="*/ 2113530 h 6453336"/>
              <a:gd name="connsiteX30" fmla="*/ 1622074 w 5915980"/>
              <a:gd name="connsiteY30" fmla="*/ 2785490 h 6453336"/>
              <a:gd name="connsiteX31" fmla="*/ 1131919 w 5915980"/>
              <a:gd name="connsiteY31" fmla="*/ 3712403 h 6453336"/>
              <a:gd name="connsiteX32" fmla="*/ 1131919 w 5915980"/>
              <a:gd name="connsiteY32" fmla="*/ 4802700 h 6453336"/>
              <a:gd name="connsiteX33" fmla="*/ 1231660 w 5915980"/>
              <a:gd name="connsiteY33" fmla="*/ 5122437 h 6453336"/>
              <a:gd name="connsiteX34" fmla="*/ 2017238 w 5915980"/>
              <a:gd name="connsiteY34" fmla="*/ 5266251 h 6453336"/>
              <a:gd name="connsiteX35" fmla="*/ 5287026 w 5915980"/>
              <a:gd name="connsiteY35" fmla="*/ 3004537 h 6453336"/>
              <a:gd name="connsiteX36" fmla="*/ 5367009 w 5915980"/>
              <a:gd name="connsiteY36" fmla="*/ 2981360 h 6453336"/>
              <a:gd name="connsiteX37" fmla="*/ 5499048 w 5915980"/>
              <a:gd name="connsiteY37" fmla="*/ 3120424 h 6453336"/>
              <a:gd name="connsiteX38" fmla="*/ 5499048 w 5915980"/>
              <a:gd name="connsiteY38" fmla="*/ 3944180 h 6453336"/>
              <a:gd name="connsiteX39" fmla="*/ 5257960 w 5915980"/>
              <a:gd name="connsiteY39" fmla="*/ 4407541 h 6453336"/>
              <a:gd name="connsiteX40" fmla="*/ 2664887 w 5915980"/>
              <a:gd name="connsiteY40" fmla="*/ 6197724 h 6453336"/>
              <a:gd name="connsiteX41" fmla="*/ 2203040 w 5915980"/>
              <a:gd name="connsiteY41" fmla="*/ 6422827 h 6453336"/>
              <a:gd name="connsiteX42" fmla="*/ 2090428 w 5915980"/>
              <a:gd name="connsiteY42" fmla="*/ 6453336 h 6453336"/>
              <a:gd name="connsiteX43" fmla="*/ 1306922 w 5915980"/>
              <a:gd name="connsiteY43" fmla="*/ 6453336 h 6453336"/>
              <a:gd name="connsiteX44" fmla="*/ 1190422 w 5915980"/>
              <a:gd name="connsiteY44" fmla="*/ 6423213 h 6453336"/>
              <a:gd name="connsiteX45" fmla="*/ 2 w 5915980"/>
              <a:gd name="connsiteY45" fmla="*/ 4800420 h 6453336"/>
              <a:gd name="connsiteX46" fmla="*/ 2 w 5915980"/>
              <a:gd name="connsiteY46" fmla="*/ 3579227 h 6453336"/>
              <a:gd name="connsiteX47" fmla="*/ 865563 w 5915980"/>
              <a:gd name="connsiteY47" fmla="*/ 1938559 h 6453336"/>
              <a:gd name="connsiteX48" fmla="*/ 1699777 w 5915980"/>
              <a:gd name="connsiteY48" fmla="*/ 1359118 h 6453336"/>
              <a:gd name="connsiteX49" fmla="*/ 1699777 w 5915980"/>
              <a:gd name="connsiteY49" fmla="*/ 963010 h 6453336"/>
              <a:gd name="connsiteX50" fmla="*/ 1940674 w 5915980"/>
              <a:gd name="connsiteY50" fmla="*/ 499458 h 6453336"/>
              <a:gd name="connsiteX51" fmla="*/ 2621952 w 5915980"/>
              <a:gd name="connsiteY51" fmla="*/ 24318 h 6453336"/>
              <a:gd name="connsiteX52" fmla="*/ 2704404 w 5915980"/>
              <a:gd name="connsiteY52" fmla="*/ 0 h 645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5915980" h="6453336">
                <a:moveTo>
                  <a:pt x="5915980" y="4499633"/>
                </a:moveTo>
                <a:lnTo>
                  <a:pt x="5915980" y="6018809"/>
                </a:lnTo>
                <a:lnTo>
                  <a:pt x="5889506" y="6037238"/>
                </a:lnTo>
                <a:cubicBezTo>
                  <a:pt x="5786519" y="6108929"/>
                  <a:pt x="5659766" y="6197164"/>
                  <a:pt x="5503762" y="6305761"/>
                </a:cubicBezTo>
                <a:cubicBezTo>
                  <a:pt x="5503762" y="6305761"/>
                  <a:pt x="5503762" y="6305761"/>
                  <a:pt x="5503762" y="6401389"/>
                </a:cubicBezTo>
                <a:lnTo>
                  <a:pt x="5503762" y="6453336"/>
                </a:lnTo>
                <a:lnTo>
                  <a:pt x="4366980" y="6453336"/>
                </a:lnTo>
                <a:lnTo>
                  <a:pt x="4366980" y="6390134"/>
                </a:lnTo>
                <a:cubicBezTo>
                  <a:pt x="4366980" y="6273726"/>
                  <a:pt x="4366980" y="6145276"/>
                  <a:pt x="4366980" y="6003537"/>
                </a:cubicBezTo>
                <a:cubicBezTo>
                  <a:pt x="4365841" y="5818137"/>
                  <a:pt x="4456282" y="5645466"/>
                  <a:pt x="4608093" y="5540040"/>
                </a:cubicBezTo>
                <a:cubicBezTo>
                  <a:pt x="4608093" y="5540040"/>
                  <a:pt x="4608093" y="5540040"/>
                  <a:pt x="4707655" y="5471654"/>
                </a:cubicBezTo>
                <a:cubicBezTo>
                  <a:pt x="4707655" y="5471654"/>
                  <a:pt x="4707655" y="5471654"/>
                  <a:pt x="5576914" y="4871577"/>
                </a:cubicBezTo>
                <a:cubicBezTo>
                  <a:pt x="5691201" y="4792506"/>
                  <a:pt x="5788360" y="4694551"/>
                  <a:pt x="5865166" y="4583439"/>
                </a:cubicBezTo>
                <a:close/>
                <a:moveTo>
                  <a:pt x="5507372" y="1160746"/>
                </a:moveTo>
                <a:cubicBezTo>
                  <a:pt x="5624556" y="1161054"/>
                  <a:pt x="5738932" y="1173215"/>
                  <a:pt x="5849367" y="1196089"/>
                </a:cubicBezTo>
                <a:lnTo>
                  <a:pt x="5915980" y="1213384"/>
                </a:lnTo>
                <a:lnTo>
                  <a:pt x="5915980" y="2482794"/>
                </a:lnTo>
                <a:lnTo>
                  <a:pt x="5890938" y="2453316"/>
                </a:lnTo>
                <a:cubicBezTo>
                  <a:pt x="5701253" y="2271253"/>
                  <a:pt x="5403537" y="2241917"/>
                  <a:pt x="5179430" y="2396994"/>
                </a:cubicBezTo>
                <a:cubicBezTo>
                  <a:pt x="5179430" y="2396994"/>
                  <a:pt x="5179430" y="2396994"/>
                  <a:pt x="1909305" y="4659583"/>
                </a:cubicBezTo>
                <a:cubicBezTo>
                  <a:pt x="1886124" y="4674591"/>
                  <a:pt x="1858194" y="4682759"/>
                  <a:pt x="1830454" y="4682759"/>
                </a:cubicBezTo>
                <a:cubicBezTo>
                  <a:pt x="1755213" y="4681619"/>
                  <a:pt x="1694792" y="4618933"/>
                  <a:pt x="1695931" y="4543709"/>
                </a:cubicBezTo>
                <a:cubicBezTo>
                  <a:pt x="1695931" y="4543709"/>
                  <a:pt x="1695931" y="4543709"/>
                  <a:pt x="1695931" y="3720051"/>
                </a:cubicBezTo>
                <a:cubicBezTo>
                  <a:pt x="1694792" y="3534652"/>
                  <a:pt x="1785233" y="3361980"/>
                  <a:pt x="1938185" y="3256553"/>
                </a:cubicBezTo>
                <a:cubicBezTo>
                  <a:pt x="1938185" y="3256553"/>
                  <a:pt x="1938185" y="3256553"/>
                  <a:pt x="4533992" y="1465438"/>
                </a:cubicBezTo>
                <a:cubicBezTo>
                  <a:pt x="4820136" y="1266173"/>
                  <a:pt x="5159669" y="1160746"/>
                  <a:pt x="5507372" y="1160746"/>
                </a:cubicBezTo>
                <a:close/>
                <a:moveTo>
                  <a:pt x="2704404" y="0"/>
                </a:moveTo>
                <a:cubicBezTo>
                  <a:pt x="2779638" y="2471"/>
                  <a:pt x="2837582" y="64973"/>
                  <a:pt x="2835302" y="140205"/>
                </a:cubicBezTo>
                <a:cubicBezTo>
                  <a:pt x="2835302" y="140205"/>
                  <a:pt x="2835302" y="140205"/>
                  <a:pt x="2835302" y="1649979"/>
                </a:cubicBezTo>
                <a:cubicBezTo>
                  <a:pt x="2836442" y="1835399"/>
                  <a:pt x="2747150" y="2009232"/>
                  <a:pt x="2594214" y="2113530"/>
                </a:cubicBezTo>
                <a:cubicBezTo>
                  <a:pt x="2594214" y="2113530"/>
                  <a:pt x="2594214" y="2113530"/>
                  <a:pt x="1622074" y="2785490"/>
                </a:cubicBezTo>
                <a:cubicBezTo>
                  <a:pt x="1316202" y="2995228"/>
                  <a:pt x="1133058" y="3341753"/>
                  <a:pt x="1131919" y="3712403"/>
                </a:cubicBezTo>
                <a:cubicBezTo>
                  <a:pt x="1131919" y="3712403"/>
                  <a:pt x="1131919" y="3712403"/>
                  <a:pt x="1131919" y="4802700"/>
                </a:cubicBezTo>
                <a:cubicBezTo>
                  <a:pt x="1131919" y="4916308"/>
                  <a:pt x="1166686" y="5028586"/>
                  <a:pt x="1231660" y="5122437"/>
                </a:cubicBezTo>
                <a:cubicBezTo>
                  <a:pt x="1408913" y="5379670"/>
                  <a:pt x="1761141" y="5443503"/>
                  <a:pt x="2017238" y="5266251"/>
                </a:cubicBezTo>
                <a:cubicBezTo>
                  <a:pt x="2017238" y="5266251"/>
                  <a:pt x="2017238" y="5266251"/>
                  <a:pt x="5287026" y="3004537"/>
                </a:cubicBezTo>
                <a:cubicBezTo>
                  <a:pt x="5310204" y="2988199"/>
                  <a:pt x="5337942" y="2981360"/>
                  <a:pt x="5367009" y="2981360"/>
                </a:cubicBezTo>
                <a:cubicBezTo>
                  <a:pt x="5442242" y="2983639"/>
                  <a:pt x="5501327" y="3045003"/>
                  <a:pt x="5499048" y="3120424"/>
                </a:cubicBezTo>
                <a:cubicBezTo>
                  <a:pt x="5499048" y="3120424"/>
                  <a:pt x="5499048" y="3120424"/>
                  <a:pt x="5499048" y="3944180"/>
                </a:cubicBezTo>
                <a:cubicBezTo>
                  <a:pt x="5500187" y="4128460"/>
                  <a:pt x="5409756" y="4302102"/>
                  <a:pt x="5257960" y="4407541"/>
                </a:cubicBezTo>
                <a:cubicBezTo>
                  <a:pt x="5257960" y="4407541"/>
                  <a:pt x="5257960" y="4407541"/>
                  <a:pt x="2664887" y="6197724"/>
                </a:cubicBezTo>
                <a:cubicBezTo>
                  <a:pt x="2522401" y="6296228"/>
                  <a:pt x="2366568" y="6371841"/>
                  <a:pt x="2203040" y="6422827"/>
                </a:cubicBezTo>
                <a:lnTo>
                  <a:pt x="2090428" y="6453336"/>
                </a:lnTo>
                <a:lnTo>
                  <a:pt x="1306922" y="6453336"/>
                </a:lnTo>
                <a:lnTo>
                  <a:pt x="1190422" y="6423213"/>
                </a:lnTo>
                <a:cubicBezTo>
                  <a:pt x="499824" y="6207373"/>
                  <a:pt x="-924" y="5562027"/>
                  <a:pt x="2" y="4800420"/>
                </a:cubicBezTo>
                <a:cubicBezTo>
                  <a:pt x="2" y="4800420"/>
                  <a:pt x="2" y="4800420"/>
                  <a:pt x="2" y="3579227"/>
                </a:cubicBezTo>
                <a:cubicBezTo>
                  <a:pt x="2283" y="2923416"/>
                  <a:pt x="325633" y="2310539"/>
                  <a:pt x="865563" y="1938559"/>
                </a:cubicBezTo>
                <a:cubicBezTo>
                  <a:pt x="865563" y="1938559"/>
                  <a:pt x="865563" y="1938559"/>
                  <a:pt x="1699777" y="1359118"/>
                </a:cubicBezTo>
                <a:cubicBezTo>
                  <a:pt x="1699777" y="1359118"/>
                  <a:pt x="1699777" y="1359118"/>
                  <a:pt x="1699777" y="963010"/>
                </a:cubicBezTo>
                <a:cubicBezTo>
                  <a:pt x="1698636" y="778729"/>
                  <a:pt x="1788878" y="604898"/>
                  <a:pt x="1940674" y="499458"/>
                </a:cubicBezTo>
                <a:cubicBezTo>
                  <a:pt x="1940674" y="499458"/>
                  <a:pt x="1940674" y="499458"/>
                  <a:pt x="2621952" y="24318"/>
                </a:cubicBezTo>
                <a:cubicBezTo>
                  <a:pt x="2646459" y="7029"/>
                  <a:pt x="2675337" y="0"/>
                  <a:pt x="2704404" y="0"/>
                </a:cubicBez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 rot="5400000">
            <a:off x="1703904" y="3752644"/>
            <a:ext cx="1584000" cy="3240968"/>
          </a:xfrm>
          <a:prstGeom prst="bracketPair">
            <a:avLst>
              <a:gd name="adj" fmla="val 0"/>
            </a:avLst>
          </a:prstGeom>
          <a:ln w="25400">
            <a:gradFill flip="none" rotWithShape="1">
              <a:gsLst>
                <a:gs pos="49000">
                  <a:schemeClr val="tx1"/>
                </a:gs>
                <a:gs pos="51000">
                  <a:schemeClr val="tx1">
                    <a:alpha val="0"/>
                  </a:schemeClr>
                </a:gs>
              </a:gsLst>
              <a:lin ang="0" scaled="1"/>
              <a:tileRect/>
            </a:gradFill>
          </a:ln>
        </p:spPr>
        <p:txBody>
          <a:bodyPr vert="vert270" lIns="180000" r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9pPr>
          </a:lstStyle>
          <a:p>
            <a:r>
              <a:rPr lang="de-DE"/>
              <a:t>Kontaktanga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4067FFD-BCCF-73BC-43E8-152AA837DE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9624632" y="404664"/>
            <a:ext cx="2160000" cy="57042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875420" y="1844824"/>
            <a:ext cx="10440000" cy="2016000"/>
          </a:xfrm>
        </p:spPr>
        <p:txBody>
          <a:bodyPr anchor="b"/>
          <a:lstStyle>
            <a:lvl1pPr algn="l"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/>
              <a:t>Schlusswort</a:t>
            </a:r>
          </a:p>
        </p:txBody>
      </p:sp>
    </p:spTree>
    <p:extLst>
      <p:ext uri="{BB962C8B-B14F-4D97-AF65-F5344CB8AC3E}">
        <p14:creationId xmlns:p14="http://schemas.microsoft.com/office/powerpoint/2010/main" val="22204529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7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328472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69" tIns="48384" rIns="96769" bIns="48384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494" y="967716"/>
            <a:ext cx="4786897" cy="4937627"/>
          </a:xfrm>
          <a:prstGeom prst="rect">
            <a:avLst/>
          </a:prstGeom>
        </p:spPr>
      </p:pic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7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9526118" cy="1638256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90"/>
            <a:ext cx="1009607" cy="19049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962796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69" tIns="48384" rIns="96769" bIns="48384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494" y="967716"/>
            <a:ext cx="4786897" cy="4937627"/>
          </a:xfrm>
          <a:prstGeom prst="rect">
            <a:avLst/>
          </a:prstGeom>
        </p:spPr>
      </p:pic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7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9526118" cy="1638256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90"/>
            <a:ext cx="1009607" cy="19049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637563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69" tIns="48384" rIns="96769" bIns="48384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7200594" y="1"/>
            <a:ext cx="4495797" cy="5905341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3" indent="0">
              <a:buNone/>
              <a:defRPr sz="2000"/>
            </a:lvl7pPr>
            <a:lvl8pPr marL="3200321" indent="0">
              <a:buNone/>
              <a:defRPr sz="2000"/>
            </a:lvl8pPr>
            <a:lvl9pPr marL="3657510" indent="0">
              <a:buNone/>
              <a:defRPr sz="200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4" y="967716"/>
            <a:ext cx="4788967" cy="4937627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7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4"/>
            <a:ext cx="6209732" cy="2476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90"/>
            <a:ext cx="1009607" cy="19049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453781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2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69" tIns="48384" rIns="96769" bIns="48384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7200594" y="1"/>
            <a:ext cx="4495797" cy="5905341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3" indent="0">
              <a:buNone/>
              <a:defRPr sz="2000"/>
            </a:lvl7pPr>
            <a:lvl8pPr marL="3200321" indent="0">
              <a:buNone/>
              <a:defRPr sz="2000"/>
            </a:lvl8pPr>
            <a:lvl9pPr marL="3657510" indent="0">
              <a:buNone/>
              <a:defRPr sz="200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4" y="967716"/>
            <a:ext cx="4788967" cy="4937627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7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4"/>
            <a:ext cx="6209732" cy="2476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90"/>
            <a:ext cx="1009607" cy="19049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437623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6013097" y="-451678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9257909" y="4571876"/>
            <a:ext cx="2437753" cy="495287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943019" y="4571876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6013097" y="-1232817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9257909" y="3790737"/>
            <a:ext cx="2437753" cy="495287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943019" y="3790737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6013097" y="-2013957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9257909" y="3009597"/>
            <a:ext cx="2437753" cy="495287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943019" y="3009597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6013097" y="-2795097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9257909" y="2228457"/>
            <a:ext cx="2437753" cy="495287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943019" y="2228457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6013097" y="-3576238"/>
            <a:ext cx="676651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9257909" y="1447317"/>
            <a:ext cx="2437753" cy="495287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943019" y="1447317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612" y="532579"/>
            <a:ext cx="11200050" cy="609584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855699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54809" y="6163144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6015569" y="-3828206"/>
            <a:ext cx="495287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9169699" y="1286032"/>
            <a:ext cx="2437753" cy="417548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854811" y="1286032"/>
            <a:ext cx="6857709" cy="417548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612" y="532579"/>
            <a:ext cx="11200050" cy="609584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42" name="Agendapunkt Nummer">
            <a:extLst>
              <a:ext uri="{FF2B5EF4-FFF2-40B4-BE49-F238E27FC236}">
                <a16:creationId xmlns:a16="http://schemas.microsoft.com/office/drawing/2014/main" id="{32692945-7297-4B26-BF0D-91C423AA60EC}"/>
              </a:ext>
            </a:extLst>
          </p:cNvPr>
          <p:cNvSpPr>
            <a:spLocks noGrp="1"/>
          </p:cNvSpPr>
          <p:nvPr>
            <p:ph type="body" orient="vert" idx="31" hasCustomPrompt="1"/>
          </p:nvPr>
        </p:nvSpPr>
        <p:spPr>
          <a:xfrm rot="5400000" flipH="1">
            <a:off x="6015569" y="-3179859"/>
            <a:ext cx="495287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43" name="Zeit">
            <a:extLst>
              <a:ext uri="{FF2B5EF4-FFF2-40B4-BE49-F238E27FC236}">
                <a16:creationId xmlns:a16="http://schemas.microsoft.com/office/drawing/2014/main" id="{C87DC8AD-13F6-44A7-A27C-E8700E4A4B6D}"/>
              </a:ext>
            </a:extLst>
          </p:cNvPr>
          <p:cNvSpPr>
            <a:spLocks noGrp="1"/>
          </p:cNvSpPr>
          <p:nvPr>
            <p:ph type="body" orient="vert" idx="32" hasCustomPrompt="1"/>
          </p:nvPr>
        </p:nvSpPr>
        <p:spPr>
          <a:xfrm>
            <a:off x="9169699" y="1934379"/>
            <a:ext cx="2437753" cy="417548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44" name="Agendapunkt Text">
            <a:extLst>
              <a:ext uri="{FF2B5EF4-FFF2-40B4-BE49-F238E27FC236}">
                <a16:creationId xmlns:a16="http://schemas.microsoft.com/office/drawing/2014/main" id="{ACF95C4E-F86B-4E9B-9976-33D8206FF91C}"/>
              </a:ext>
            </a:extLst>
          </p:cNvPr>
          <p:cNvSpPr>
            <a:spLocks noGrp="1"/>
          </p:cNvSpPr>
          <p:nvPr>
            <p:ph type="body" orient="vert" idx="33" hasCustomPrompt="1"/>
          </p:nvPr>
        </p:nvSpPr>
        <p:spPr>
          <a:xfrm>
            <a:off x="1854811" y="1934379"/>
            <a:ext cx="6857709" cy="417548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45" name="Agendapunkt Nummer">
            <a:extLst>
              <a:ext uri="{FF2B5EF4-FFF2-40B4-BE49-F238E27FC236}">
                <a16:creationId xmlns:a16="http://schemas.microsoft.com/office/drawing/2014/main" id="{EF82875B-FE29-4D16-8CF2-09988CE9CA84}"/>
              </a:ext>
            </a:extLst>
          </p:cNvPr>
          <p:cNvSpPr>
            <a:spLocks noGrp="1"/>
          </p:cNvSpPr>
          <p:nvPr>
            <p:ph type="body" orient="vert" idx="34" hasCustomPrompt="1"/>
          </p:nvPr>
        </p:nvSpPr>
        <p:spPr>
          <a:xfrm rot="5400000" flipH="1">
            <a:off x="6015569" y="-2533284"/>
            <a:ext cx="495287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46" name="Zeit">
            <a:extLst>
              <a:ext uri="{FF2B5EF4-FFF2-40B4-BE49-F238E27FC236}">
                <a16:creationId xmlns:a16="http://schemas.microsoft.com/office/drawing/2014/main" id="{DD8C439A-7A7F-432D-854E-D3C5E0AC95E9}"/>
              </a:ext>
            </a:extLst>
          </p:cNvPr>
          <p:cNvSpPr>
            <a:spLocks noGrp="1"/>
          </p:cNvSpPr>
          <p:nvPr>
            <p:ph type="body" orient="vert" idx="35" hasCustomPrompt="1"/>
          </p:nvPr>
        </p:nvSpPr>
        <p:spPr>
          <a:xfrm>
            <a:off x="9169699" y="2580953"/>
            <a:ext cx="2437753" cy="417548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47" name="Agendapunkt Text">
            <a:extLst>
              <a:ext uri="{FF2B5EF4-FFF2-40B4-BE49-F238E27FC236}">
                <a16:creationId xmlns:a16="http://schemas.microsoft.com/office/drawing/2014/main" id="{8154BF32-AA1E-461B-89B5-75C6D89CEBDE}"/>
              </a:ext>
            </a:extLst>
          </p:cNvPr>
          <p:cNvSpPr>
            <a:spLocks noGrp="1"/>
          </p:cNvSpPr>
          <p:nvPr>
            <p:ph type="body" orient="vert" idx="36" hasCustomPrompt="1"/>
          </p:nvPr>
        </p:nvSpPr>
        <p:spPr>
          <a:xfrm>
            <a:off x="1854811" y="2580953"/>
            <a:ext cx="6857709" cy="417548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48" name="Agendapunkt Nummer">
            <a:extLst>
              <a:ext uri="{FF2B5EF4-FFF2-40B4-BE49-F238E27FC236}">
                <a16:creationId xmlns:a16="http://schemas.microsoft.com/office/drawing/2014/main" id="{49009361-837C-4B2D-8C2B-0AE538F0CC41}"/>
              </a:ext>
            </a:extLst>
          </p:cNvPr>
          <p:cNvSpPr>
            <a:spLocks noGrp="1"/>
          </p:cNvSpPr>
          <p:nvPr>
            <p:ph type="body" orient="vert" idx="37" hasCustomPrompt="1"/>
          </p:nvPr>
        </p:nvSpPr>
        <p:spPr>
          <a:xfrm rot="5400000" flipH="1">
            <a:off x="6015569" y="-1884937"/>
            <a:ext cx="495287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49" name="Zeit">
            <a:extLst>
              <a:ext uri="{FF2B5EF4-FFF2-40B4-BE49-F238E27FC236}">
                <a16:creationId xmlns:a16="http://schemas.microsoft.com/office/drawing/2014/main" id="{64076A99-D9FF-41F3-836B-859FA50BAE92}"/>
              </a:ext>
            </a:extLst>
          </p:cNvPr>
          <p:cNvSpPr>
            <a:spLocks noGrp="1"/>
          </p:cNvSpPr>
          <p:nvPr>
            <p:ph type="body" orient="vert" idx="38" hasCustomPrompt="1"/>
          </p:nvPr>
        </p:nvSpPr>
        <p:spPr>
          <a:xfrm>
            <a:off x="9169699" y="3229300"/>
            <a:ext cx="2437753" cy="417548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50" name="Agendapunkt Text">
            <a:extLst>
              <a:ext uri="{FF2B5EF4-FFF2-40B4-BE49-F238E27FC236}">
                <a16:creationId xmlns:a16="http://schemas.microsoft.com/office/drawing/2014/main" id="{D793A4FA-75AB-4036-BF71-963CF505AB97}"/>
              </a:ext>
            </a:extLst>
          </p:cNvPr>
          <p:cNvSpPr>
            <a:spLocks noGrp="1"/>
          </p:cNvSpPr>
          <p:nvPr>
            <p:ph type="body" orient="vert" idx="39" hasCustomPrompt="1"/>
          </p:nvPr>
        </p:nvSpPr>
        <p:spPr>
          <a:xfrm>
            <a:off x="1854811" y="3229300"/>
            <a:ext cx="6857709" cy="417548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51" name="Agendapunkt Nummer">
            <a:extLst>
              <a:ext uri="{FF2B5EF4-FFF2-40B4-BE49-F238E27FC236}">
                <a16:creationId xmlns:a16="http://schemas.microsoft.com/office/drawing/2014/main" id="{146CB420-6059-4851-9F48-7E4AD09380D2}"/>
              </a:ext>
            </a:extLst>
          </p:cNvPr>
          <p:cNvSpPr>
            <a:spLocks noGrp="1"/>
          </p:cNvSpPr>
          <p:nvPr>
            <p:ph type="body" orient="vert" idx="40" hasCustomPrompt="1"/>
          </p:nvPr>
        </p:nvSpPr>
        <p:spPr>
          <a:xfrm rot="5400000" flipH="1">
            <a:off x="6015569" y="-1332138"/>
            <a:ext cx="495287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52" name="Zeit">
            <a:extLst>
              <a:ext uri="{FF2B5EF4-FFF2-40B4-BE49-F238E27FC236}">
                <a16:creationId xmlns:a16="http://schemas.microsoft.com/office/drawing/2014/main" id="{CBC21C2E-D2F4-451D-A5AA-6168C8D9DCE5}"/>
              </a:ext>
            </a:extLst>
          </p:cNvPr>
          <p:cNvSpPr>
            <a:spLocks noGrp="1"/>
          </p:cNvSpPr>
          <p:nvPr>
            <p:ph type="body" orient="vert" idx="41" hasCustomPrompt="1"/>
          </p:nvPr>
        </p:nvSpPr>
        <p:spPr>
          <a:xfrm>
            <a:off x="9169699" y="3782100"/>
            <a:ext cx="2437753" cy="417548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53" name="Agendapunkt Text">
            <a:extLst>
              <a:ext uri="{FF2B5EF4-FFF2-40B4-BE49-F238E27FC236}">
                <a16:creationId xmlns:a16="http://schemas.microsoft.com/office/drawing/2014/main" id="{38C9B053-96F3-42D2-96EC-11A075728AC9}"/>
              </a:ext>
            </a:extLst>
          </p:cNvPr>
          <p:cNvSpPr>
            <a:spLocks noGrp="1"/>
          </p:cNvSpPr>
          <p:nvPr>
            <p:ph type="body" orient="vert" idx="42" hasCustomPrompt="1"/>
          </p:nvPr>
        </p:nvSpPr>
        <p:spPr>
          <a:xfrm>
            <a:off x="1854811" y="3782100"/>
            <a:ext cx="6857709" cy="417548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54" name="Agendapunkt Nummer">
            <a:extLst>
              <a:ext uri="{FF2B5EF4-FFF2-40B4-BE49-F238E27FC236}">
                <a16:creationId xmlns:a16="http://schemas.microsoft.com/office/drawing/2014/main" id="{DDDF3D71-6EAC-490D-98B8-058839E0A126}"/>
              </a:ext>
            </a:extLst>
          </p:cNvPr>
          <p:cNvSpPr>
            <a:spLocks noGrp="1"/>
          </p:cNvSpPr>
          <p:nvPr>
            <p:ph type="body" orient="vert" idx="43" hasCustomPrompt="1"/>
          </p:nvPr>
        </p:nvSpPr>
        <p:spPr>
          <a:xfrm rot="5400000" flipH="1">
            <a:off x="6015569" y="-683791"/>
            <a:ext cx="495287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55" name="Zeit">
            <a:extLst>
              <a:ext uri="{FF2B5EF4-FFF2-40B4-BE49-F238E27FC236}">
                <a16:creationId xmlns:a16="http://schemas.microsoft.com/office/drawing/2014/main" id="{84DACA69-CC98-4904-AAC2-3E2004452A76}"/>
              </a:ext>
            </a:extLst>
          </p:cNvPr>
          <p:cNvSpPr>
            <a:spLocks noGrp="1"/>
          </p:cNvSpPr>
          <p:nvPr>
            <p:ph type="body" orient="vert" idx="44" hasCustomPrompt="1"/>
          </p:nvPr>
        </p:nvSpPr>
        <p:spPr>
          <a:xfrm>
            <a:off x="9169699" y="4430447"/>
            <a:ext cx="2437753" cy="417548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56" name="Agendapunkt Text">
            <a:extLst>
              <a:ext uri="{FF2B5EF4-FFF2-40B4-BE49-F238E27FC236}">
                <a16:creationId xmlns:a16="http://schemas.microsoft.com/office/drawing/2014/main" id="{80640CE2-6AF5-4E94-8BDB-A818D3B3176A}"/>
              </a:ext>
            </a:extLst>
          </p:cNvPr>
          <p:cNvSpPr>
            <a:spLocks noGrp="1"/>
          </p:cNvSpPr>
          <p:nvPr>
            <p:ph type="body" orient="vert" idx="45" hasCustomPrompt="1"/>
          </p:nvPr>
        </p:nvSpPr>
        <p:spPr>
          <a:xfrm>
            <a:off x="1854811" y="4430447"/>
            <a:ext cx="6857709" cy="417548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57" name="Agendapunkt Nummer">
            <a:extLst>
              <a:ext uri="{FF2B5EF4-FFF2-40B4-BE49-F238E27FC236}">
                <a16:creationId xmlns:a16="http://schemas.microsoft.com/office/drawing/2014/main" id="{59ABBC44-22C7-4170-A810-3D375A599032}"/>
              </a:ext>
            </a:extLst>
          </p:cNvPr>
          <p:cNvSpPr>
            <a:spLocks noGrp="1"/>
          </p:cNvSpPr>
          <p:nvPr>
            <p:ph type="body" orient="vert" idx="46" hasCustomPrompt="1"/>
          </p:nvPr>
        </p:nvSpPr>
        <p:spPr>
          <a:xfrm rot="5400000" flipH="1">
            <a:off x="6015569" y="-37216"/>
            <a:ext cx="495287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58" name="Zeit">
            <a:extLst>
              <a:ext uri="{FF2B5EF4-FFF2-40B4-BE49-F238E27FC236}">
                <a16:creationId xmlns:a16="http://schemas.microsoft.com/office/drawing/2014/main" id="{68B14D37-6AE3-4238-84A1-F76BF6C9972D}"/>
              </a:ext>
            </a:extLst>
          </p:cNvPr>
          <p:cNvSpPr>
            <a:spLocks noGrp="1"/>
          </p:cNvSpPr>
          <p:nvPr>
            <p:ph type="body" orient="vert" idx="47" hasCustomPrompt="1"/>
          </p:nvPr>
        </p:nvSpPr>
        <p:spPr>
          <a:xfrm>
            <a:off x="9169699" y="5077021"/>
            <a:ext cx="2437753" cy="417548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59" name="Agendapunkt Text">
            <a:extLst>
              <a:ext uri="{FF2B5EF4-FFF2-40B4-BE49-F238E27FC236}">
                <a16:creationId xmlns:a16="http://schemas.microsoft.com/office/drawing/2014/main" id="{21DAB97D-5C8D-45B5-948F-2BA46BA0513B}"/>
              </a:ext>
            </a:extLst>
          </p:cNvPr>
          <p:cNvSpPr>
            <a:spLocks noGrp="1"/>
          </p:cNvSpPr>
          <p:nvPr>
            <p:ph type="body" orient="vert" idx="48" hasCustomPrompt="1"/>
          </p:nvPr>
        </p:nvSpPr>
        <p:spPr>
          <a:xfrm>
            <a:off x="1854811" y="5077021"/>
            <a:ext cx="6857709" cy="417548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60" name="Agendapunkt Nummer">
            <a:extLst>
              <a:ext uri="{FF2B5EF4-FFF2-40B4-BE49-F238E27FC236}">
                <a16:creationId xmlns:a16="http://schemas.microsoft.com/office/drawing/2014/main" id="{E1211610-196E-4F0F-BEC5-1C1DC3315510}"/>
              </a:ext>
            </a:extLst>
          </p:cNvPr>
          <p:cNvSpPr>
            <a:spLocks noGrp="1"/>
          </p:cNvSpPr>
          <p:nvPr>
            <p:ph type="body" orient="vert" idx="49" hasCustomPrompt="1"/>
          </p:nvPr>
        </p:nvSpPr>
        <p:spPr>
          <a:xfrm rot="5400000" flipH="1">
            <a:off x="6015569" y="611131"/>
            <a:ext cx="495287" cy="10723762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61" name="Zeit">
            <a:extLst>
              <a:ext uri="{FF2B5EF4-FFF2-40B4-BE49-F238E27FC236}">
                <a16:creationId xmlns:a16="http://schemas.microsoft.com/office/drawing/2014/main" id="{1CA73C7A-5A3E-49F3-928E-6360DDFDD149}"/>
              </a:ext>
            </a:extLst>
          </p:cNvPr>
          <p:cNvSpPr>
            <a:spLocks noGrp="1"/>
          </p:cNvSpPr>
          <p:nvPr>
            <p:ph type="body" orient="vert" idx="50" hasCustomPrompt="1"/>
          </p:nvPr>
        </p:nvSpPr>
        <p:spPr>
          <a:xfrm>
            <a:off x="9169699" y="5725368"/>
            <a:ext cx="2437753" cy="417548"/>
          </a:xfrm>
        </p:spPr>
        <p:txBody>
          <a:bodyPr vert="horz" anchor="b" anchorCtr="0"/>
          <a:lstStyle>
            <a:lvl1pPr marL="571475" indent="-571475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62" name="Agendapunkt Text">
            <a:extLst>
              <a:ext uri="{FF2B5EF4-FFF2-40B4-BE49-F238E27FC236}">
                <a16:creationId xmlns:a16="http://schemas.microsoft.com/office/drawing/2014/main" id="{0744823D-487A-4B4A-9095-691623D3B5C8}"/>
              </a:ext>
            </a:extLst>
          </p:cNvPr>
          <p:cNvSpPr>
            <a:spLocks noGrp="1"/>
          </p:cNvSpPr>
          <p:nvPr>
            <p:ph type="body" orient="vert" idx="51" hasCustomPrompt="1"/>
          </p:nvPr>
        </p:nvSpPr>
        <p:spPr>
          <a:xfrm>
            <a:off x="1854811" y="5725368"/>
            <a:ext cx="6857709" cy="417548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</p:spTree>
    <p:extLst>
      <p:ext uri="{BB962C8B-B14F-4D97-AF65-F5344CB8AC3E}">
        <p14:creationId xmlns:p14="http://schemas.microsoft.com/office/powerpoint/2010/main" val="4154216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21" name="Info">
            <a:extLst>
              <a:ext uri="{FF2B5EF4-FFF2-40B4-BE49-F238E27FC236}">
                <a16:creationId xmlns:a16="http://schemas.microsoft.com/office/drawing/2014/main" id="{F0BD9021-C95C-496F-92D3-9974520BB026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9467637" y="4438532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3" name="Bild">
            <a:extLst>
              <a:ext uri="{FF2B5EF4-FFF2-40B4-BE49-F238E27FC236}">
                <a16:creationId xmlns:a16="http://schemas.microsoft.com/office/drawing/2014/main" id="{ABE0E20D-F28A-4E47-B56B-12D2F827C966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9467634" y="2705028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3" indent="0">
              <a:buNone/>
              <a:defRPr sz="2000"/>
            </a:lvl7pPr>
            <a:lvl8pPr marL="3200321" indent="0">
              <a:buNone/>
              <a:defRPr sz="2000"/>
            </a:lvl8pPr>
            <a:lvl9pPr marL="3657510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8" name="Name">
            <a:extLst>
              <a:ext uri="{FF2B5EF4-FFF2-40B4-BE49-F238E27FC236}">
                <a16:creationId xmlns:a16="http://schemas.microsoft.com/office/drawing/2014/main" id="{77AF355E-03CF-4C16-9AF2-5C3460A637F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9467636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476851" y="4438532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476848" y="2705028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3" indent="0">
              <a:buNone/>
              <a:defRPr sz="2000"/>
            </a:lvl7pPr>
            <a:lvl8pPr marL="3200321" indent="0">
              <a:buNone/>
              <a:defRPr sz="2000"/>
            </a:lvl8pPr>
            <a:lvl9pPr marL="3657510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476960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486066" y="4438532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486064" y="2705028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3" indent="0">
              <a:buNone/>
              <a:defRPr sz="2000"/>
            </a:lvl7pPr>
            <a:lvl8pPr marL="3200321" indent="0">
              <a:buNone/>
              <a:defRPr sz="2000"/>
            </a:lvl8pPr>
            <a:lvl9pPr marL="3657510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486287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95281" y="4438532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95279" y="2705028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3" indent="0">
              <a:buNone/>
              <a:defRPr sz="2000"/>
            </a:lvl7pPr>
            <a:lvl8pPr marL="3200321" indent="0">
              <a:buNone/>
              <a:defRPr sz="2000"/>
            </a:lvl8pPr>
            <a:lvl9pPr marL="3657510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95612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824348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388675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4" y="967716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41578" y="6189954"/>
            <a:ext cx="1454813" cy="34289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28656" y="2400805"/>
            <a:ext cx="8992741" cy="114244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492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8657" y="2238884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3950865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4" y="967716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41578" y="6189954"/>
            <a:ext cx="1454813" cy="34289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28656" y="2400805"/>
            <a:ext cx="8992741" cy="114244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492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8657" y="2238884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</p:spTree>
    <p:extLst>
      <p:ext uri="{BB962C8B-B14F-4D97-AF65-F5344CB8AC3E}">
        <p14:creationId xmlns:p14="http://schemas.microsoft.com/office/powerpoint/2010/main" val="18410095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89540" y="5143428"/>
            <a:ext cx="6095742" cy="761979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19105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>
          <p15:clr>
            <a:srgbClr val="FBAE40"/>
          </p15:clr>
        </p15:guide>
        <p15:guide id="2" pos="295">
          <p15:clr>
            <a:srgbClr val="FBAE40"/>
          </p15:clr>
        </p15:guide>
        <p15:guide id="3" pos="589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573135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904951"/>
            <a:ext cx="11697817" cy="3924195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3" indent="0">
              <a:buNone/>
              <a:defRPr sz="2000"/>
            </a:lvl7pPr>
            <a:lvl8pPr marL="3200321" indent="0">
              <a:buNone/>
              <a:defRPr sz="2000"/>
            </a:lvl8pPr>
            <a:lvl9pPr marL="3657510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727838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47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7202006" y="1885899"/>
            <a:ext cx="4989994" cy="4019441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3" indent="0">
              <a:buNone/>
              <a:defRPr sz="2000"/>
            </a:lvl7pPr>
            <a:lvl8pPr marL="3200321" indent="0">
              <a:buNone/>
              <a:defRPr sz="2000"/>
            </a:lvl8pPr>
            <a:lvl9pPr marL="3657510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9542" y="2247919"/>
            <a:ext cx="5715472" cy="3657489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10448271" y="-448297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780002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4" pos="4286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515">
          <p15:clr>
            <a:srgbClr val="FBAE40"/>
          </p15:clr>
        </p15:guide>
        <p15:guide id="8" pos="3991">
          <p15:clr>
            <a:srgbClr val="FBAE40"/>
          </p15:clr>
        </p15:guide>
        <p15:guide id="9" orient="horz" pos="112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3" indent="0">
              <a:buNone/>
              <a:defRPr sz="2000"/>
            </a:lvl7pPr>
            <a:lvl8pPr marL="3200321" indent="0">
              <a:buNone/>
              <a:defRPr sz="2000"/>
            </a:lvl8pPr>
            <a:lvl9pPr marL="3657510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4" y="967716"/>
            <a:ext cx="5284577" cy="5890285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372369" y="6190249"/>
            <a:ext cx="323292" cy="342891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79" y="3707050"/>
            <a:ext cx="10054996" cy="2200037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4097029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279833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2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3" indent="0">
              <a:buNone/>
              <a:defRPr sz="2000"/>
            </a:lvl7pPr>
            <a:lvl8pPr marL="3200321" indent="0">
              <a:buNone/>
              <a:defRPr sz="2000"/>
            </a:lvl8pPr>
            <a:lvl9pPr marL="3657510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4" y="967716"/>
            <a:ext cx="5284577" cy="5890285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372369" y="6190249"/>
            <a:ext cx="323292" cy="342891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79" y="3707050"/>
            <a:ext cx="10054996" cy="2200037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4097029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640309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69" tIns="48384" rIns="96769" bIns="48384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324429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609" y="6324429"/>
            <a:ext cx="4762298" cy="1333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9540" y="1784223"/>
            <a:ext cx="9678670" cy="952471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1619253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492305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0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69" tIns="48384" rIns="96769" bIns="48384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324429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609" y="6324429"/>
            <a:ext cx="4762298" cy="1333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9540" y="1784223"/>
            <a:ext cx="9678670" cy="952471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8" y="1619253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944133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51751143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4" y="967716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2"/>
            <a:ext cx="1454813" cy="342891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0"/>
            <a:ext cx="2476395" cy="187830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7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2" y="630022"/>
            <a:ext cx="5830045" cy="3200314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0" spc="11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90"/>
            <a:ext cx="1009607" cy="19049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274696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4" y="967716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2"/>
            <a:ext cx="1454813" cy="342891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n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4" y="3981740"/>
            <a:ext cx="2476395" cy="187830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7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2" y="630022"/>
            <a:ext cx="5830045" cy="3200314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0" spc="11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80990"/>
            <a:ext cx="1009607" cy="19049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8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6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6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0225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_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8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2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rgbClr val="575757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79560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331578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266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534326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6627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080787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3914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126113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9.xml"/><Relationship Id="rId39" Type="http://schemas.openxmlformats.org/officeDocument/2006/relationships/tags" Target="../tags/tag22.xml"/><Relationship Id="rId21" Type="http://schemas.openxmlformats.org/officeDocument/2006/relationships/tags" Target="../tags/tag4.xml"/><Relationship Id="rId34" Type="http://schemas.openxmlformats.org/officeDocument/2006/relationships/tags" Target="../tags/tag17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29" Type="http://schemas.openxmlformats.org/officeDocument/2006/relationships/tags" Target="../tags/tag12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31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0.sv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image" Target="../media/image9.png"/><Relationship Id="rId2" Type="http://schemas.openxmlformats.org/officeDocument/2006/relationships/slideLayout" Target="../slideLayouts/slideLayout19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image" Target="../media/image15.emf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oleObject" Target="../embeddings/oleObject15.bin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tags" Target="../tags/tag1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840404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1730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  <p:sldLayoutId id="2147483796" r:id="rId12"/>
    <p:sldLayoutId id="2147483797" r:id="rId13"/>
    <p:sldLayoutId id="2147483798" r:id="rId14"/>
    <p:sldLayoutId id="2147483799" r:id="rId15"/>
    <p:sldLayoutId id="2147483800" r:id="rId16"/>
    <p:sldLayoutId id="2147483801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07368" y="728748"/>
            <a:ext cx="10009084" cy="43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Folientitel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875480" y="1844824"/>
            <a:ext cx="10441808" cy="43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37C5036-3761-BA58-A419-B01B375619CD}"/>
              </a:ext>
            </a:extLst>
          </p:cNvPr>
          <p:cNvGrpSpPr/>
          <p:nvPr userDrawn="1"/>
        </p:nvGrpSpPr>
        <p:grpSpPr bwMode="gray">
          <a:xfrm>
            <a:off x="4115820" y="-171400"/>
            <a:ext cx="360000" cy="72000"/>
            <a:chOff x="4007768" y="-171400"/>
            <a:chExt cx="288032" cy="72000"/>
          </a:xfrm>
        </p:grpSpPr>
        <p:cxnSp>
          <p:nvCxnSpPr>
            <p:cNvPr id="14" name="Gerader Verbinder 13"/>
            <p:cNvCxnSpPr/>
            <p:nvPr userDrawn="1"/>
          </p:nvCxnSpPr>
          <p:spPr bwMode="gray">
            <a:xfrm>
              <a:off x="4007768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/>
            <p:cNvCxnSpPr/>
            <p:nvPr userDrawn="1"/>
          </p:nvCxnSpPr>
          <p:spPr bwMode="gray">
            <a:xfrm>
              <a:off x="4295800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30CAB556-1AC4-AE84-7D5D-6EEA00A44F1C}"/>
              </a:ext>
            </a:extLst>
          </p:cNvPr>
          <p:cNvGrpSpPr/>
          <p:nvPr userDrawn="1"/>
        </p:nvGrpSpPr>
        <p:grpSpPr bwMode="gray">
          <a:xfrm>
            <a:off x="5915980" y="-171400"/>
            <a:ext cx="360000" cy="72000"/>
            <a:chOff x="5951984" y="-171400"/>
            <a:chExt cx="288032" cy="72000"/>
          </a:xfrm>
        </p:grpSpPr>
        <p:cxnSp>
          <p:nvCxnSpPr>
            <p:cNvPr id="16" name="Gerader Verbinder 15"/>
            <p:cNvCxnSpPr/>
            <p:nvPr userDrawn="1"/>
          </p:nvCxnSpPr>
          <p:spPr bwMode="gray">
            <a:xfrm>
              <a:off x="5951984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/>
            <p:cNvCxnSpPr/>
            <p:nvPr userDrawn="1"/>
          </p:nvCxnSpPr>
          <p:spPr bwMode="gray">
            <a:xfrm>
              <a:off x="6240016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2AA222AA-2254-0843-E76A-48202474548D}"/>
              </a:ext>
            </a:extLst>
          </p:cNvPr>
          <p:cNvGrpSpPr/>
          <p:nvPr userDrawn="1"/>
        </p:nvGrpSpPr>
        <p:grpSpPr bwMode="gray">
          <a:xfrm>
            <a:off x="7716180" y="-171400"/>
            <a:ext cx="360000" cy="72000"/>
            <a:chOff x="7896200" y="-171400"/>
            <a:chExt cx="288032" cy="72000"/>
          </a:xfrm>
        </p:grpSpPr>
        <p:cxnSp>
          <p:nvCxnSpPr>
            <p:cNvPr id="18" name="Gerader Verbinder 17"/>
            <p:cNvCxnSpPr/>
            <p:nvPr userDrawn="1"/>
          </p:nvCxnSpPr>
          <p:spPr bwMode="gray">
            <a:xfrm>
              <a:off x="7896200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/>
            <p:cNvCxnSpPr/>
            <p:nvPr userDrawn="1"/>
          </p:nvCxnSpPr>
          <p:spPr bwMode="gray">
            <a:xfrm>
              <a:off x="8184232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6AB95106-ED32-023C-EEEC-8DBE6AE464C0}"/>
              </a:ext>
            </a:extLst>
          </p:cNvPr>
          <p:cNvGrpSpPr/>
          <p:nvPr userDrawn="1"/>
        </p:nvGrpSpPr>
        <p:grpSpPr bwMode="gray">
          <a:xfrm>
            <a:off x="407368" y="-171400"/>
            <a:ext cx="11377264" cy="72000"/>
            <a:chOff x="407368" y="-171400"/>
            <a:chExt cx="11377264" cy="72000"/>
          </a:xfrm>
        </p:grpSpPr>
        <p:cxnSp>
          <p:nvCxnSpPr>
            <p:cNvPr id="13" name="Gerader Verbinder 12"/>
            <p:cNvCxnSpPr/>
            <p:nvPr userDrawn="1"/>
          </p:nvCxnSpPr>
          <p:spPr bwMode="gray">
            <a:xfrm>
              <a:off x="407368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/>
            <p:cNvCxnSpPr/>
            <p:nvPr userDrawn="1"/>
          </p:nvCxnSpPr>
          <p:spPr bwMode="gray">
            <a:xfrm>
              <a:off x="11784632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 userDrawn="1"/>
        </p:nvGrpSpPr>
        <p:grpSpPr bwMode="gray">
          <a:xfrm>
            <a:off x="-168688" y="1845312"/>
            <a:ext cx="72000" cy="4320000"/>
            <a:chOff x="-456728" y="1628800"/>
            <a:chExt cx="216000" cy="4536504"/>
          </a:xfrm>
        </p:grpSpPr>
        <p:cxnSp>
          <p:nvCxnSpPr>
            <p:cNvPr id="23" name="Gerader Verbinder 22"/>
            <p:cNvCxnSpPr/>
            <p:nvPr userDrawn="1"/>
          </p:nvCxnSpPr>
          <p:spPr bwMode="gray">
            <a:xfrm>
              <a:off x="-456728" y="1628800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/>
            <p:cNvCxnSpPr/>
            <p:nvPr userDrawn="1"/>
          </p:nvCxnSpPr>
          <p:spPr bwMode="gray">
            <a:xfrm>
              <a:off x="-456728" y="6165304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" name="Datumsplatzhalter 55">
            <a:extLst>
              <a:ext uri="{FF2B5EF4-FFF2-40B4-BE49-F238E27FC236}">
                <a16:creationId xmlns:a16="http://schemas.microsoft.com/office/drawing/2014/main" id="{6F5EB3A3-AAD3-71E9-2147-B75477A8C304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75420" y="6345324"/>
            <a:ext cx="504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2FCA0ED-13F5-44C3-BE32-2EFC0EFC49EA}" type="datetime1">
              <a:rPr lang="de-DE" smtClean="0"/>
              <a:t>21.06.2024</a:t>
            </a:fld>
            <a:endParaRPr lang="de-DE"/>
          </a:p>
        </p:txBody>
      </p:sp>
      <p:sp>
        <p:nvSpPr>
          <p:cNvPr id="57" name="Fußzeilenplatzhalter 56">
            <a:extLst>
              <a:ext uri="{FF2B5EF4-FFF2-40B4-BE49-F238E27FC236}">
                <a16:creationId xmlns:a16="http://schemas.microsoft.com/office/drawing/2014/main" id="{4284088D-38C4-41C9-1576-C03176B45F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75420" y="6489340"/>
            <a:ext cx="504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58" name="Foliennummernplatzhalter 57">
            <a:extLst>
              <a:ext uri="{FF2B5EF4-FFF2-40B4-BE49-F238E27FC236}">
                <a16:creationId xmlns:a16="http://schemas.microsoft.com/office/drawing/2014/main" id="{7DF2E735-87C5-169F-F829-5D9C7740E9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407368" y="6345324"/>
            <a:ext cx="396000" cy="288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800" b="1">
                <a:solidFill>
                  <a:schemeClr val="tx1"/>
                </a:solidFill>
              </a:defRPr>
            </a:lvl1pPr>
          </a:lstStyle>
          <a:p>
            <a:fld id="{5DFAF3F9-DB4A-4795-B69B-3AD29566E077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65" name="Grafik 64">
            <a:extLst>
              <a:ext uri="{FF2B5EF4-FFF2-40B4-BE49-F238E27FC236}">
                <a16:creationId xmlns:a16="http://schemas.microsoft.com/office/drawing/2014/main" id="{DBF0D824-7996-C471-5F9F-E86007B00166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 bwMode="gray">
          <a:xfrm>
            <a:off x="11460644" y="332656"/>
            <a:ext cx="432000" cy="462858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96A82DB-621C-BABD-C922-33E195368EC8}"/>
              </a:ext>
            </a:extLst>
          </p:cNvPr>
          <p:cNvGrpSpPr/>
          <p:nvPr userDrawn="1"/>
        </p:nvGrpSpPr>
        <p:grpSpPr bwMode="gray">
          <a:xfrm>
            <a:off x="875420" y="-171400"/>
            <a:ext cx="10440000" cy="72000"/>
            <a:chOff x="407368" y="-171400"/>
            <a:chExt cx="11377264" cy="72000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3BF1F312-BDDE-E847-EF65-4761F18513FB}"/>
                </a:ext>
              </a:extLst>
            </p:cNvPr>
            <p:cNvCxnSpPr/>
            <p:nvPr userDrawn="1"/>
          </p:nvCxnSpPr>
          <p:spPr bwMode="gray">
            <a:xfrm>
              <a:off x="407368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55866DA7-AE2D-99AA-0AEB-43A8494970BA}"/>
                </a:ext>
              </a:extLst>
            </p:cNvPr>
            <p:cNvCxnSpPr/>
            <p:nvPr userDrawn="1"/>
          </p:nvCxnSpPr>
          <p:spPr bwMode="gray">
            <a:xfrm>
              <a:off x="11784632" y="-171400"/>
              <a:ext cx="0" cy="72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32791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  <p:sldLayoutId id="2147484140" r:id="rId4"/>
    <p:sldLayoutId id="2147484141" r:id="rId5"/>
    <p:sldLayoutId id="2147484142" r:id="rId6"/>
    <p:sldLayoutId id="2147484143" r:id="rId7"/>
    <p:sldLayoutId id="2147484144" r:id="rId8"/>
    <p:sldLayoutId id="2147484145" r:id="rId9"/>
    <p:sldLayoutId id="2147484146" r:id="rId10"/>
    <p:sldLayoutId id="2147484147" r:id="rId11"/>
    <p:sldLayoutId id="2147484148" r:id="rId12"/>
    <p:sldLayoutId id="2147484150" r:id="rId13"/>
    <p:sldLayoutId id="2147484149" r:id="rId14"/>
    <p:sldLayoutId id="2147484193" r:id="rId1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800"/>
        </a:spcBef>
        <a:spcAft>
          <a:spcPts val="0"/>
        </a:spcAft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bg2"/>
        </a:buClr>
        <a:buFont typeface="Wingdings 2" panose="05020102010507070707" pitchFamily="18" charset="2"/>
        <a:buChar char="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>
          <p15:clr>
            <a:srgbClr val="A4A3A4"/>
          </p15:clr>
        </p15:guide>
        <p15:guide id="5" pos="7423">
          <p15:clr>
            <a:srgbClr val="A4A3A4"/>
          </p15:clr>
        </p15:guide>
        <p15:guide id="10" orient="horz" pos="1162">
          <p15:clr>
            <a:srgbClr val="F26B43"/>
          </p15:clr>
        </p15:guide>
        <p15:guide id="11" orient="horz" pos="3884">
          <p15:clr>
            <a:srgbClr val="F26B43"/>
          </p15:clr>
        </p15:guide>
        <p15:guide id="12" pos="551">
          <p15:clr>
            <a:srgbClr val="F26B43"/>
          </p15:clr>
        </p15:guide>
        <p15:guide id="13" pos="7129">
          <p15:clr>
            <a:srgbClr val="F26B43"/>
          </p15:clr>
        </p15:guide>
        <p15:guide id="14" pos="3727">
          <p15:clr>
            <a:srgbClr val="F26B43"/>
          </p15:clr>
        </p15:guide>
        <p15:guide id="15" pos="3953">
          <p15:clr>
            <a:srgbClr val="F26B43"/>
          </p15:clr>
        </p15:guide>
        <p15:guide id="16" orient="horz" pos="459">
          <p15:clr>
            <a:srgbClr val="A4A3A4"/>
          </p15:clr>
        </p15:guide>
        <p15:guide id="17" pos="2819">
          <p15:clr>
            <a:srgbClr val="A4A3A4"/>
          </p15:clr>
        </p15:guide>
        <p15:guide id="18" pos="2593">
          <p15:clr>
            <a:srgbClr val="A4A3A4"/>
          </p15:clr>
        </p15:guide>
        <p15:guide id="19" pos="4861">
          <p15:clr>
            <a:srgbClr val="A4A3A4"/>
          </p15:clr>
        </p15:guide>
        <p15:guide id="20" pos="5087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A2B707-8526-46CE-8B33-921EF2514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513583025"/>
              </p:ext>
            </p:ext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A2B707-8526-46CE-8B33-921EF2514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05508" y="6324429"/>
            <a:ext cx="380984" cy="1333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5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5609" y="6324429"/>
            <a:ext cx="4762298" cy="1333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35" spc="-11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9pPr>
          </a:lstStyle>
          <a:p>
            <a:r>
              <a:rPr lang="en-US"/>
              <a:t>© 2023 Catena-X or an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9541" y="2247919"/>
            <a:ext cx="10706121" cy="36574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2" y="532579"/>
            <a:ext cx="11200050" cy="1142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5279" y="380991"/>
            <a:ext cx="514328" cy="19049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1005" b="1">
                <a:solidFill>
                  <a:schemeClr val="tx1"/>
                </a:solidFill>
              </a:defRPr>
            </a:lvl1pPr>
            <a:lvl2pPr marL="0" algn="l">
              <a:defRPr sz="1005" b="1"/>
            </a:lvl2pPr>
            <a:lvl3pPr marL="0" algn="l">
              <a:defRPr sz="1005" b="1"/>
            </a:lvl3pPr>
            <a:lvl4pPr marL="0" algn="l">
              <a:defRPr sz="1005" b="1"/>
            </a:lvl4pPr>
            <a:lvl5pPr marL="0" algn="l">
              <a:defRPr sz="1005" b="1"/>
            </a:lvl5pPr>
            <a:lvl6pPr marL="0" algn="l">
              <a:defRPr sz="1005" b="1"/>
            </a:lvl6pPr>
            <a:lvl7pPr marL="0" algn="l">
              <a:defRPr sz="1005" b="1"/>
            </a:lvl7pPr>
            <a:lvl8pPr marL="0" algn="l">
              <a:defRPr sz="1005" b="1"/>
            </a:lvl8pPr>
            <a:lvl9pPr marL="0" algn="l">
              <a:defRPr sz="1005" b="1"/>
            </a:lvl9pPr>
          </a:lstStyle>
          <a:p>
            <a:r>
              <a:rPr lang="de-DE"/>
              <a:t>Hier steht das Kapitel</a:t>
            </a:r>
          </a:p>
        </p:txBody>
      </p:sp>
    </p:spTree>
    <p:extLst>
      <p:ext uri="{BB962C8B-B14F-4D97-AF65-F5344CB8AC3E}">
        <p14:creationId xmlns:p14="http://schemas.microsoft.com/office/powerpoint/2010/main" val="2396049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3" r:id="rId1"/>
    <p:sldLayoutId id="2147484174" r:id="rId2"/>
    <p:sldLayoutId id="2147484175" r:id="rId3"/>
    <p:sldLayoutId id="2147484176" r:id="rId4"/>
    <p:sldLayoutId id="2147484177" r:id="rId5"/>
    <p:sldLayoutId id="2147484178" r:id="rId6"/>
    <p:sldLayoutId id="2147484179" r:id="rId7"/>
    <p:sldLayoutId id="2147484180" r:id="rId8"/>
    <p:sldLayoutId id="2147484181" r:id="rId9"/>
    <p:sldLayoutId id="2147484182" r:id="rId10"/>
    <p:sldLayoutId id="2147484183" r:id="rId11"/>
    <p:sldLayoutId id="2147484184" r:id="rId12"/>
    <p:sldLayoutId id="2147484185" r:id="rId13"/>
    <p:sldLayoutId id="2147484186" r:id="rId14"/>
    <p:sldLayoutId id="2147484187" r:id="rId15"/>
    <p:sldLayoutId id="2147484188" r:id="rId16"/>
    <p:sldLayoutId id="2147484189" r:id="rId17"/>
    <p:sldLayoutId id="2147484190" r:id="rId18"/>
    <p:sldLayoutId id="2147484191" r:id="rId19"/>
    <p:sldLayoutId id="2147484192" r:id="rId20"/>
  </p:sldLayoutIdLst>
  <p:hf hdr="0"/>
  <p:txStyles>
    <p:titleStyle>
      <a:lvl1pPr marL="0" indent="0" algn="l" defTabSz="914378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492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914360" indent="-914360" algn="l" defTabSz="914378" rtl="0" eaLnBrk="1" latinLnBrk="0" hangingPunct="1">
        <a:lnSpc>
          <a:spcPct val="95000"/>
        </a:lnSpc>
        <a:spcBef>
          <a:spcPts val="2117"/>
        </a:spcBef>
        <a:spcAft>
          <a:spcPts val="635"/>
        </a:spcAft>
        <a:buSzPct val="170000"/>
        <a:buFont typeface="Arial" panose="020B0604020202020204" pitchFamily="34" charset="0"/>
        <a:buChar char="→"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1pPr>
      <a:lvl2pPr marL="1142950" indent="-228591" algn="l" defTabSz="914378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78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78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78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78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8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378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8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2" kern="1200" spc="11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1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1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catenax-ev.github.io/docs/next/working-model/overview" TargetMode="External"/><Relationship Id="rId3" Type="http://schemas.openxmlformats.org/officeDocument/2006/relationships/image" Target="../media/image25.png"/><Relationship Id="rId7" Type="http://schemas.openxmlformats.org/officeDocument/2006/relationships/image" Target="../media/image29.svg"/><Relationship Id="rId12" Type="http://schemas.openxmlformats.org/officeDocument/2006/relationships/image" Target="../media/image33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11" Type="http://schemas.openxmlformats.org/officeDocument/2006/relationships/image" Target="../media/image32.png"/><Relationship Id="rId5" Type="http://schemas.openxmlformats.org/officeDocument/2006/relationships/image" Target="../media/image27.svg"/><Relationship Id="rId10" Type="http://schemas.openxmlformats.org/officeDocument/2006/relationships/image" Target="../media/image31.svg"/><Relationship Id="rId4" Type="http://schemas.openxmlformats.org/officeDocument/2006/relationships/image" Target="../media/image26.png"/><Relationship Id="rId9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1F5C35C4-9523-5B9C-6887-6E9888CC86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 the different levels work together? 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A6B7BE39-27CE-B156-3830-44035545CBF5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B628C7B-AF38-A896-59A7-209ED1FF62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D2DF2D9-0E9C-44C1-9F88-571B4F8E5F65}" type="datetime1">
              <a:rPr lang="de-DE" smtClean="0"/>
              <a:t>21.06.2024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59F9286-A911-E568-0797-4A2BA1A025D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Titel der Präsentatio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0F03A46-A392-0F56-8A1E-837CE512A47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FAF3F9-DB4A-4795-B69B-3AD29566E077}" type="slidenum">
              <a:rPr lang="de-DE" smtClean="0"/>
              <a:t>1</a:t>
            </a:fld>
            <a:endParaRPr lang="de-DE"/>
          </a:p>
        </p:txBody>
      </p:sp>
      <p:graphicFrame>
        <p:nvGraphicFramePr>
          <p:cNvPr id="1057" name="Table 3">
            <a:extLst>
              <a:ext uri="{FF2B5EF4-FFF2-40B4-BE49-F238E27FC236}">
                <a16:creationId xmlns:a16="http://schemas.microsoft.com/office/drawing/2014/main" id="{8318212D-0F66-8C77-99BF-BE95D91DD8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2611543"/>
              </p:ext>
            </p:extLst>
          </p:nvPr>
        </p:nvGraphicFramePr>
        <p:xfrm>
          <a:off x="260266" y="1412491"/>
          <a:ext cx="11439669" cy="4579006"/>
        </p:xfrm>
        <a:graphic>
          <a:graphicData uri="http://schemas.openxmlformats.org/drawingml/2006/table">
            <a:tbl>
              <a:tblPr firstRow="1" bandRow="1"/>
              <a:tblGrid>
                <a:gridCol w="1224919">
                  <a:extLst>
                    <a:ext uri="{9D8B030D-6E8A-4147-A177-3AD203B41FA5}">
                      <a16:colId xmlns:a16="http://schemas.microsoft.com/office/drawing/2014/main" val="3885690925"/>
                    </a:ext>
                  </a:extLst>
                </a:gridCol>
                <a:gridCol w="1459250">
                  <a:extLst>
                    <a:ext uri="{9D8B030D-6E8A-4147-A177-3AD203B41FA5}">
                      <a16:colId xmlns:a16="http://schemas.microsoft.com/office/drawing/2014/main" val="3380576949"/>
                    </a:ext>
                  </a:extLst>
                </a:gridCol>
                <a:gridCol w="1459250">
                  <a:extLst>
                    <a:ext uri="{9D8B030D-6E8A-4147-A177-3AD203B41FA5}">
                      <a16:colId xmlns:a16="http://schemas.microsoft.com/office/drawing/2014/main" val="2650529660"/>
                    </a:ext>
                  </a:extLst>
                </a:gridCol>
                <a:gridCol w="1459250">
                  <a:extLst>
                    <a:ext uri="{9D8B030D-6E8A-4147-A177-3AD203B41FA5}">
                      <a16:colId xmlns:a16="http://schemas.microsoft.com/office/drawing/2014/main" val="2292034130"/>
                    </a:ext>
                  </a:extLst>
                </a:gridCol>
                <a:gridCol w="1459250">
                  <a:extLst>
                    <a:ext uri="{9D8B030D-6E8A-4147-A177-3AD203B41FA5}">
                      <a16:colId xmlns:a16="http://schemas.microsoft.com/office/drawing/2014/main" val="3112185231"/>
                    </a:ext>
                  </a:extLst>
                </a:gridCol>
                <a:gridCol w="1459250">
                  <a:extLst>
                    <a:ext uri="{9D8B030D-6E8A-4147-A177-3AD203B41FA5}">
                      <a16:colId xmlns:a16="http://schemas.microsoft.com/office/drawing/2014/main" val="3469370162"/>
                    </a:ext>
                  </a:extLst>
                </a:gridCol>
                <a:gridCol w="1459250">
                  <a:extLst>
                    <a:ext uri="{9D8B030D-6E8A-4147-A177-3AD203B41FA5}">
                      <a16:colId xmlns:a16="http://schemas.microsoft.com/office/drawing/2014/main" val="1617897513"/>
                    </a:ext>
                  </a:extLst>
                </a:gridCol>
                <a:gridCol w="1459250">
                  <a:extLst>
                    <a:ext uri="{9D8B030D-6E8A-4147-A177-3AD203B41FA5}">
                      <a16:colId xmlns:a16="http://schemas.microsoft.com/office/drawing/2014/main" val="1798220980"/>
                    </a:ext>
                  </a:extLst>
                </a:gridCol>
              </a:tblGrid>
              <a:tr h="197289"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endParaRPr lang="de-DE" sz="1200" b="1"/>
                    </a:p>
                  </a:txBody>
                  <a:tcPr marL="71999" marR="91438" marT="0" marB="0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000" b="1" kern="1200" dirty="0">
                          <a:solidFill>
                            <a:schemeClr val="tx1"/>
                          </a:solidFill>
                          <a:latin typeface="Manrope Light" pitchFamily="2" charset="0"/>
                          <a:ea typeface="+mn-ea"/>
                          <a:cs typeface="Arial" panose="020B0604020202020204" pitchFamily="34" charset="0"/>
                        </a:rPr>
                        <a:t>Q2/24</a:t>
                      </a:r>
                    </a:p>
                  </a:txBody>
                  <a:tcPr marL="71999" marR="91438" marT="0" marB="0" anchor="ctr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000" b="1" kern="1200" dirty="0">
                          <a:solidFill>
                            <a:schemeClr val="tx1"/>
                          </a:solidFill>
                          <a:latin typeface="Manrope Light" pitchFamily="2" charset="0"/>
                          <a:ea typeface="+mn-ea"/>
                          <a:cs typeface="Arial" panose="020B0604020202020204" pitchFamily="34" charset="0"/>
                        </a:rPr>
                        <a:t>Q3/24</a:t>
                      </a:r>
                    </a:p>
                  </a:txBody>
                  <a:tcPr marL="71999" marR="91438" marT="0" marB="0" anchor="ctr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000" b="1" kern="1200" dirty="0">
                          <a:solidFill>
                            <a:schemeClr val="tx1"/>
                          </a:solidFill>
                          <a:latin typeface="Manrope Light" pitchFamily="2" charset="0"/>
                          <a:ea typeface="+mn-ea"/>
                          <a:cs typeface="Arial" panose="020B0604020202020204" pitchFamily="34" charset="0"/>
                        </a:rPr>
                        <a:t>Q4/24</a:t>
                      </a:r>
                    </a:p>
                  </a:txBody>
                  <a:tcPr marL="71999" marR="91438" marT="0" marB="0" anchor="ctr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000" b="1" kern="1200" dirty="0">
                          <a:solidFill>
                            <a:schemeClr val="tx1"/>
                          </a:solidFill>
                          <a:latin typeface="Manrope Light" pitchFamily="2" charset="0"/>
                          <a:ea typeface="+mn-ea"/>
                          <a:cs typeface="Arial" panose="020B0604020202020204" pitchFamily="34" charset="0"/>
                        </a:rPr>
                        <a:t>Q1/25</a:t>
                      </a:r>
                    </a:p>
                  </a:txBody>
                  <a:tcPr marL="71999" marR="91438" marT="0" marB="0" anchor="ctr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000" b="1" kern="1200" dirty="0">
                          <a:solidFill>
                            <a:schemeClr val="tx1"/>
                          </a:solidFill>
                          <a:latin typeface="Manrope Light" pitchFamily="2" charset="0"/>
                          <a:ea typeface="+mn-ea"/>
                          <a:cs typeface="Arial" panose="020B0604020202020204" pitchFamily="34" charset="0"/>
                        </a:rPr>
                        <a:t>Q2/25</a:t>
                      </a:r>
                    </a:p>
                  </a:txBody>
                  <a:tcPr marL="71999" marR="91438" marT="0" marB="0" anchor="ctr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000" b="1" kern="1200" dirty="0">
                          <a:solidFill>
                            <a:schemeClr val="tx1"/>
                          </a:solidFill>
                          <a:latin typeface="Manrope Light" pitchFamily="2" charset="0"/>
                          <a:ea typeface="+mn-ea"/>
                          <a:cs typeface="Arial" panose="020B0604020202020204" pitchFamily="34" charset="0"/>
                        </a:rPr>
                        <a:t>Q3/25</a:t>
                      </a:r>
                    </a:p>
                  </a:txBody>
                  <a:tcPr marL="71999" marR="91438" marT="0" marB="0" anchor="ctr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000" b="1" kern="1200" dirty="0">
                          <a:solidFill>
                            <a:schemeClr val="tx1"/>
                          </a:solidFill>
                          <a:latin typeface="Manrope Light" pitchFamily="2" charset="0"/>
                          <a:ea typeface="+mn-ea"/>
                          <a:cs typeface="Arial" panose="020B0604020202020204" pitchFamily="34" charset="0"/>
                        </a:rPr>
                        <a:t>Q4/26</a:t>
                      </a:r>
                    </a:p>
                  </a:txBody>
                  <a:tcPr marL="71999" marR="91438" marT="0" marB="0" anchor="ctr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421530"/>
                  </a:ext>
                </a:extLst>
              </a:tr>
              <a:tr h="1841015"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Manrope" pitchFamily="2" charset="0"/>
                          <a:ea typeface="+mn-ea"/>
                          <a:cs typeface="Arial" panose="020B0604020202020204" pitchFamily="34" charset="0"/>
                        </a:rPr>
                        <a:t>Catena-X Ecosystem</a:t>
                      </a: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CB2D"/>
                    </a:solidFill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4059138"/>
                  </a:ext>
                </a:extLst>
              </a:tr>
              <a:tr h="1591468"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b="1" kern="1200" dirty="0">
                          <a:solidFill>
                            <a:schemeClr val="tx1"/>
                          </a:solidFill>
                          <a:latin typeface="Manrope" pitchFamily="2" charset="0"/>
                          <a:ea typeface="+mn-ea"/>
                          <a:cs typeface="Arial" panose="020B0604020202020204" pitchFamily="34" charset="0"/>
                        </a:rPr>
                        <a:t>Catena-X e.V.</a:t>
                      </a: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A600"/>
                    </a:solidFill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2965559"/>
                  </a:ext>
                </a:extLst>
              </a:tr>
              <a:tr h="949234"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864017" rtl="0" eaLnBrk="1" latinLnBrk="0" hangingPunct="1"/>
                      <a:r>
                        <a:rPr lang="de-DE" sz="1200" b="1" kern="1200" dirty="0">
                          <a:solidFill>
                            <a:schemeClr val="bg1"/>
                          </a:solidFill>
                          <a:latin typeface="Manrope" pitchFamily="2" charset="0"/>
                          <a:ea typeface="+mn-ea"/>
                          <a:cs typeface="Arial" panose="020B0604020202020204" pitchFamily="34" charset="0"/>
                        </a:rPr>
                        <a:t>Tractus-X</a:t>
                      </a:r>
                      <a:br>
                        <a:rPr lang="de-DE" sz="1200" b="1" kern="1200" dirty="0">
                          <a:solidFill>
                            <a:schemeClr val="bg1"/>
                          </a:solidFill>
                          <a:latin typeface="Manrope" pitchFamily="2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200" b="1" kern="1200" dirty="0">
                          <a:solidFill>
                            <a:schemeClr val="bg1"/>
                          </a:solidFill>
                          <a:latin typeface="Manrope" pitchFamily="2" charset="0"/>
                          <a:ea typeface="+mn-ea"/>
                          <a:cs typeface="Arial" panose="020B0604020202020204" pitchFamily="34" charset="0"/>
                        </a:rPr>
                        <a:t>Project</a:t>
                      </a:r>
                    </a:p>
                  </a:txBody>
                  <a:tcPr marL="91438" marR="91438" marT="45719" marB="45719" anchor="ctr">
                    <a:lnL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800" b="1" kern="1200">
                        <a:solidFill>
                          <a:prstClr val="white"/>
                        </a:solidFill>
                        <a:latin typeface="Manrope Light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800" b="1" kern="1200" dirty="0">
                        <a:solidFill>
                          <a:prstClr val="white"/>
                        </a:solidFill>
                        <a:latin typeface="Manrope Light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800" b="1" kern="1200" dirty="0">
                        <a:solidFill>
                          <a:prstClr val="white"/>
                        </a:solidFill>
                        <a:latin typeface="Manrope Light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800" b="1" kern="1200" dirty="0">
                        <a:solidFill>
                          <a:prstClr val="white"/>
                        </a:solidFill>
                        <a:latin typeface="Manrope Light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200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4017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6025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8033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60041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92050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24058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56066" algn="l" defTabSz="864017" rtl="0" eaLnBrk="1" latinLnBrk="0" hangingPunct="1">
                        <a:defRPr sz="170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de-DE" sz="1700" dirty="0"/>
                    </a:p>
                  </a:txBody>
                  <a:tcPr marL="91438" marR="91438" marT="45719" marB="45719">
                    <a:lnL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0538072"/>
                  </a:ext>
                </a:extLst>
              </a:tr>
            </a:tbl>
          </a:graphicData>
        </a:graphic>
      </p:graphicFrame>
      <p:sp>
        <p:nvSpPr>
          <p:cNvPr id="1058" name="Parallelogram 182">
            <a:extLst>
              <a:ext uri="{FF2B5EF4-FFF2-40B4-BE49-F238E27FC236}">
                <a16:creationId xmlns:a16="http://schemas.microsoft.com/office/drawing/2014/main" id="{B75C7107-4F2F-3A26-F507-8040BC0618F3}"/>
              </a:ext>
            </a:extLst>
          </p:cNvPr>
          <p:cNvSpPr/>
          <p:nvPr/>
        </p:nvSpPr>
        <p:spPr>
          <a:xfrm>
            <a:off x="8767056" y="3461229"/>
            <a:ext cx="1945969" cy="1093522"/>
          </a:xfrm>
          <a:prstGeom prst="parallelogram">
            <a:avLst>
              <a:gd name="adj" fmla="val 55089"/>
            </a:avLst>
          </a:prstGeom>
          <a:solidFill>
            <a:srgbClr val="B3CB2D">
              <a:lumMod val="20000"/>
              <a:lumOff val="80000"/>
            </a:srgbClr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059" name="Parallelogram 173">
            <a:extLst>
              <a:ext uri="{FF2B5EF4-FFF2-40B4-BE49-F238E27FC236}">
                <a16:creationId xmlns:a16="http://schemas.microsoft.com/office/drawing/2014/main" id="{A8A9DD6D-6758-22F0-AECC-DBFE47AAFC48}"/>
              </a:ext>
            </a:extLst>
          </p:cNvPr>
          <p:cNvSpPr/>
          <p:nvPr/>
        </p:nvSpPr>
        <p:spPr>
          <a:xfrm>
            <a:off x="4493812" y="3483878"/>
            <a:ext cx="3343357" cy="1026161"/>
          </a:xfrm>
          <a:prstGeom prst="parallelogram">
            <a:avLst>
              <a:gd name="adj" fmla="val 194911"/>
            </a:avLst>
          </a:prstGeom>
          <a:solidFill>
            <a:srgbClr val="B3CB2D">
              <a:lumMod val="20000"/>
              <a:lumOff val="80000"/>
            </a:srgbClr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060" name="Parallelogram 174">
            <a:extLst>
              <a:ext uri="{FF2B5EF4-FFF2-40B4-BE49-F238E27FC236}">
                <a16:creationId xmlns:a16="http://schemas.microsoft.com/office/drawing/2014/main" id="{6EC83A86-D7E9-C552-181D-A856EFBB4B32}"/>
              </a:ext>
            </a:extLst>
          </p:cNvPr>
          <p:cNvSpPr/>
          <p:nvPr/>
        </p:nvSpPr>
        <p:spPr>
          <a:xfrm>
            <a:off x="5901618" y="3465775"/>
            <a:ext cx="1951550" cy="1052806"/>
          </a:xfrm>
          <a:prstGeom prst="parallelogram">
            <a:avLst>
              <a:gd name="adj" fmla="val 60772"/>
            </a:avLst>
          </a:prstGeom>
          <a:solidFill>
            <a:srgbClr val="B3CB2D">
              <a:lumMod val="20000"/>
              <a:lumOff val="80000"/>
            </a:srgbClr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061" name="Parallelogram 181">
            <a:extLst>
              <a:ext uri="{FF2B5EF4-FFF2-40B4-BE49-F238E27FC236}">
                <a16:creationId xmlns:a16="http://schemas.microsoft.com/office/drawing/2014/main" id="{3EA73E3E-994F-9357-24F4-AEA9534440C5}"/>
              </a:ext>
            </a:extLst>
          </p:cNvPr>
          <p:cNvSpPr/>
          <p:nvPr/>
        </p:nvSpPr>
        <p:spPr>
          <a:xfrm>
            <a:off x="7365979" y="3459113"/>
            <a:ext cx="3352921" cy="1078540"/>
          </a:xfrm>
          <a:prstGeom prst="parallelogram">
            <a:avLst>
              <a:gd name="adj" fmla="val 186546"/>
            </a:avLst>
          </a:prstGeom>
          <a:solidFill>
            <a:srgbClr val="B3CB2D">
              <a:lumMod val="20000"/>
              <a:lumOff val="80000"/>
            </a:srgbClr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062" name="Parallelogram 28">
            <a:extLst>
              <a:ext uri="{FF2B5EF4-FFF2-40B4-BE49-F238E27FC236}">
                <a16:creationId xmlns:a16="http://schemas.microsoft.com/office/drawing/2014/main" id="{4791C19D-E937-D0FE-6BF3-73D49D92A6BA}"/>
              </a:ext>
            </a:extLst>
          </p:cNvPr>
          <p:cNvSpPr/>
          <p:nvPr/>
        </p:nvSpPr>
        <p:spPr>
          <a:xfrm>
            <a:off x="1575812" y="3468667"/>
            <a:ext cx="3193852" cy="1036292"/>
          </a:xfrm>
          <a:prstGeom prst="parallelogram">
            <a:avLst>
              <a:gd name="adj" fmla="val 178473"/>
            </a:avLst>
          </a:prstGeom>
          <a:solidFill>
            <a:srgbClr val="B3CB2D">
              <a:lumMod val="20000"/>
              <a:lumOff val="80000"/>
            </a:srgbClr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063" name="Parallelogram 29">
            <a:extLst>
              <a:ext uri="{FF2B5EF4-FFF2-40B4-BE49-F238E27FC236}">
                <a16:creationId xmlns:a16="http://schemas.microsoft.com/office/drawing/2014/main" id="{A3077BB1-96FB-48D7-9039-7DCDB30EBD81}"/>
              </a:ext>
            </a:extLst>
          </p:cNvPr>
          <p:cNvSpPr/>
          <p:nvPr/>
        </p:nvSpPr>
        <p:spPr>
          <a:xfrm>
            <a:off x="2998702" y="3485765"/>
            <a:ext cx="1781989" cy="1019194"/>
          </a:xfrm>
          <a:prstGeom prst="parallelogram">
            <a:avLst>
              <a:gd name="adj" fmla="val 39939"/>
            </a:avLst>
          </a:prstGeom>
          <a:solidFill>
            <a:srgbClr val="B3CB2D">
              <a:lumMod val="20000"/>
              <a:lumOff val="80000"/>
            </a:srgbClr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066" name="Rechteck 5">
            <a:extLst>
              <a:ext uri="{FF2B5EF4-FFF2-40B4-BE49-F238E27FC236}">
                <a16:creationId xmlns:a16="http://schemas.microsoft.com/office/drawing/2014/main" id="{86810C47-9E01-1947-254B-394B80923E28}"/>
              </a:ext>
            </a:extLst>
          </p:cNvPr>
          <p:cNvSpPr/>
          <p:nvPr/>
        </p:nvSpPr>
        <p:spPr>
          <a:xfrm>
            <a:off x="1570341" y="5309038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</a:t>
            </a:r>
            <a:r>
              <a: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 &amp; Release Cycle</a:t>
            </a:r>
          </a:p>
        </p:txBody>
      </p:sp>
      <p:pic>
        <p:nvPicPr>
          <p:cNvPr id="1067" name="Picture 4" descr="First Eclipse Tractus-X Community Days: December, 7th + 8th 2023 |  ARENA2036 EN">
            <a:extLst>
              <a:ext uri="{FF2B5EF4-FFF2-40B4-BE49-F238E27FC236}">
                <a16:creationId xmlns:a16="http://schemas.microsoft.com/office/drawing/2014/main" id="{D6D77DC7-7EE6-F09A-98CD-579F46118D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9085" y="5323089"/>
            <a:ext cx="750310" cy="172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68" name="Rechteck 5">
            <a:extLst>
              <a:ext uri="{FF2B5EF4-FFF2-40B4-BE49-F238E27FC236}">
                <a16:creationId xmlns:a16="http://schemas.microsoft.com/office/drawing/2014/main" id="{E38512DE-504D-7992-9B18-FF3B6C8AF2C8}"/>
              </a:ext>
            </a:extLst>
          </p:cNvPr>
          <p:cNvSpPr/>
          <p:nvPr/>
        </p:nvSpPr>
        <p:spPr>
          <a:xfrm>
            <a:off x="3014691" y="4471499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bg2"/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pic>
        <p:nvPicPr>
          <p:cNvPr id="1069" name="Grafik 19">
            <a:extLst>
              <a:ext uri="{FF2B5EF4-FFF2-40B4-BE49-F238E27FC236}">
                <a16:creationId xmlns:a16="http://schemas.microsoft.com/office/drawing/2014/main" id="{0B26EFCF-C143-D0C4-C1A3-78761D7067E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579" r="-6380"/>
          <a:stretch/>
        </p:blipFill>
        <p:spPr>
          <a:xfrm>
            <a:off x="3018866" y="4487364"/>
            <a:ext cx="683529" cy="160134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1070" name="Rechteck 5">
            <a:extLst>
              <a:ext uri="{FF2B5EF4-FFF2-40B4-BE49-F238E27FC236}">
                <a16:creationId xmlns:a16="http://schemas.microsoft.com/office/drawing/2014/main" id="{2BAC98B7-4B64-143F-ADA1-4E8DEE74455F}"/>
              </a:ext>
            </a:extLst>
          </p:cNvPr>
          <p:cNvSpPr/>
          <p:nvPr/>
        </p:nvSpPr>
        <p:spPr>
          <a:xfrm>
            <a:off x="3014691" y="5309038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pic>
        <p:nvPicPr>
          <p:cNvPr id="1071" name="Picture 4" descr="First Eclipse Tractus-X Community Days: December, 7th + 8th 2023 |  ARENA2036 EN">
            <a:extLst>
              <a:ext uri="{FF2B5EF4-FFF2-40B4-BE49-F238E27FC236}">
                <a16:creationId xmlns:a16="http://schemas.microsoft.com/office/drawing/2014/main" id="{948F4551-A400-D76A-1A73-E0B2D841D4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3435" y="5323089"/>
            <a:ext cx="750310" cy="172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72" name="Rechteck 5">
            <a:extLst>
              <a:ext uri="{FF2B5EF4-FFF2-40B4-BE49-F238E27FC236}">
                <a16:creationId xmlns:a16="http://schemas.microsoft.com/office/drawing/2014/main" id="{4C8006D5-2499-0D4A-9859-6F7FD973CDE7}"/>
              </a:ext>
            </a:extLst>
          </p:cNvPr>
          <p:cNvSpPr/>
          <p:nvPr/>
        </p:nvSpPr>
        <p:spPr>
          <a:xfrm>
            <a:off x="4459040" y="4471499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bg2"/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pic>
        <p:nvPicPr>
          <p:cNvPr id="1073" name="Grafik 19">
            <a:extLst>
              <a:ext uri="{FF2B5EF4-FFF2-40B4-BE49-F238E27FC236}">
                <a16:creationId xmlns:a16="http://schemas.microsoft.com/office/drawing/2014/main" id="{C77DFD97-ED1D-D0DA-B567-2D47F668A8E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579" r="-6380"/>
          <a:stretch/>
        </p:blipFill>
        <p:spPr>
          <a:xfrm>
            <a:off x="4463215" y="4487364"/>
            <a:ext cx="683529" cy="160134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1074" name="Rechteck 5">
            <a:extLst>
              <a:ext uri="{FF2B5EF4-FFF2-40B4-BE49-F238E27FC236}">
                <a16:creationId xmlns:a16="http://schemas.microsoft.com/office/drawing/2014/main" id="{87C611DA-5997-2134-2F92-F2287E2303B9}"/>
              </a:ext>
            </a:extLst>
          </p:cNvPr>
          <p:cNvSpPr/>
          <p:nvPr/>
        </p:nvSpPr>
        <p:spPr>
          <a:xfrm>
            <a:off x="4459040" y="5309038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pic>
        <p:nvPicPr>
          <p:cNvPr id="1075" name="Picture 4" descr="First Eclipse Tractus-X Community Days: December, 7th + 8th 2023 |  ARENA2036 EN">
            <a:extLst>
              <a:ext uri="{FF2B5EF4-FFF2-40B4-BE49-F238E27FC236}">
                <a16:creationId xmlns:a16="http://schemas.microsoft.com/office/drawing/2014/main" id="{069AB70C-834F-1AB7-159E-F8AD4D66CB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7784" y="5323089"/>
            <a:ext cx="750310" cy="172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76" name="Rechteck 5">
            <a:extLst>
              <a:ext uri="{FF2B5EF4-FFF2-40B4-BE49-F238E27FC236}">
                <a16:creationId xmlns:a16="http://schemas.microsoft.com/office/drawing/2014/main" id="{D3F93877-ED92-9D1F-F851-BB41F92F8091}"/>
              </a:ext>
            </a:extLst>
          </p:cNvPr>
          <p:cNvSpPr/>
          <p:nvPr/>
        </p:nvSpPr>
        <p:spPr>
          <a:xfrm>
            <a:off x="5927455" y="4471499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bg2"/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pic>
        <p:nvPicPr>
          <p:cNvPr id="1077" name="Grafik 19">
            <a:extLst>
              <a:ext uri="{FF2B5EF4-FFF2-40B4-BE49-F238E27FC236}">
                <a16:creationId xmlns:a16="http://schemas.microsoft.com/office/drawing/2014/main" id="{ED33E1EC-DFA2-D0F7-5B3E-9B536F8C7BC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579" r="-6380"/>
          <a:stretch/>
        </p:blipFill>
        <p:spPr>
          <a:xfrm>
            <a:off x="5931630" y="4487364"/>
            <a:ext cx="683529" cy="160134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1078" name="Rechteck 5">
            <a:extLst>
              <a:ext uri="{FF2B5EF4-FFF2-40B4-BE49-F238E27FC236}">
                <a16:creationId xmlns:a16="http://schemas.microsoft.com/office/drawing/2014/main" id="{8D2F9604-206F-C8F0-85BD-AD39BF08188F}"/>
              </a:ext>
            </a:extLst>
          </p:cNvPr>
          <p:cNvSpPr/>
          <p:nvPr/>
        </p:nvSpPr>
        <p:spPr>
          <a:xfrm>
            <a:off x="5927455" y="5309038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pic>
        <p:nvPicPr>
          <p:cNvPr id="1079" name="Picture 4" descr="First Eclipse Tractus-X Community Days: December, 7th + 8th 2023 |  ARENA2036 EN">
            <a:extLst>
              <a:ext uri="{FF2B5EF4-FFF2-40B4-BE49-F238E27FC236}">
                <a16:creationId xmlns:a16="http://schemas.microsoft.com/office/drawing/2014/main" id="{BFC85AFA-3534-14DB-6305-864A587C3D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7490" y="5323089"/>
            <a:ext cx="750310" cy="172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80" name="Rechteck 5">
            <a:extLst>
              <a:ext uri="{FF2B5EF4-FFF2-40B4-BE49-F238E27FC236}">
                <a16:creationId xmlns:a16="http://schemas.microsoft.com/office/drawing/2014/main" id="{84814BFF-E14E-1661-8173-531B16A632B8}"/>
              </a:ext>
            </a:extLst>
          </p:cNvPr>
          <p:cNvSpPr/>
          <p:nvPr/>
        </p:nvSpPr>
        <p:spPr>
          <a:xfrm>
            <a:off x="7376617" y="4471499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bg2"/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pic>
        <p:nvPicPr>
          <p:cNvPr id="1081" name="Grafik 19">
            <a:extLst>
              <a:ext uri="{FF2B5EF4-FFF2-40B4-BE49-F238E27FC236}">
                <a16:creationId xmlns:a16="http://schemas.microsoft.com/office/drawing/2014/main" id="{FCA233DC-7B11-9513-6E4E-51F7298A5A9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579" r="-6380"/>
          <a:stretch/>
        </p:blipFill>
        <p:spPr>
          <a:xfrm>
            <a:off x="7380792" y="4487364"/>
            <a:ext cx="683529" cy="160134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1082" name="Rechteck 5">
            <a:extLst>
              <a:ext uri="{FF2B5EF4-FFF2-40B4-BE49-F238E27FC236}">
                <a16:creationId xmlns:a16="http://schemas.microsoft.com/office/drawing/2014/main" id="{A81741B5-7E30-E3C8-41BA-022C40FD5BDB}"/>
              </a:ext>
            </a:extLst>
          </p:cNvPr>
          <p:cNvSpPr/>
          <p:nvPr/>
        </p:nvSpPr>
        <p:spPr>
          <a:xfrm>
            <a:off x="7376617" y="5309038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pic>
        <p:nvPicPr>
          <p:cNvPr id="1083" name="Picture 4" descr="First Eclipse Tractus-X Community Days: December, 7th + 8th 2023 |  ARENA2036 EN">
            <a:extLst>
              <a:ext uri="{FF2B5EF4-FFF2-40B4-BE49-F238E27FC236}">
                <a16:creationId xmlns:a16="http://schemas.microsoft.com/office/drawing/2014/main" id="{85D9ED73-EF69-C3AE-928A-5972F61934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5361" y="5323089"/>
            <a:ext cx="750310" cy="172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84" name="Rechteck 5">
            <a:extLst>
              <a:ext uri="{FF2B5EF4-FFF2-40B4-BE49-F238E27FC236}">
                <a16:creationId xmlns:a16="http://schemas.microsoft.com/office/drawing/2014/main" id="{05E371BD-F54C-CCF0-2B34-0791C0768713}"/>
              </a:ext>
            </a:extLst>
          </p:cNvPr>
          <p:cNvSpPr/>
          <p:nvPr/>
        </p:nvSpPr>
        <p:spPr>
          <a:xfrm>
            <a:off x="8835405" y="4471499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bg2"/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pic>
        <p:nvPicPr>
          <p:cNvPr id="1085" name="Grafik 19">
            <a:extLst>
              <a:ext uri="{FF2B5EF4-FFF2-40B4-BE49-F238E27FC236}">
                <a16:creationId xmlns:a16="http://schemas.microsoft.com/office/drawing/2014/main" id="{54DFBC96-6109-44E3-86BF-ED4F98EFBE4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579" r="-6380"/>
          <a:stretch/>
        </p:blipFill>
        <p:spPr>
          <a:xfrm>
            <a:off x="8839580" y="4487364"/>
            <a:ext cx="683529" cy="160134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1086" name="Rechteck 5">
            <a:extLst>
              <a:ext uri="{FF2B5EF4-FFF2-40B4-BE49-F238E27FC236}">
                <a16:creationId xmlns:a16="http://schemas.microsoft.com/office/drawing/2014/main" id="{9AC8380D-C0B5-A78A-59E0-F9321A9E19EE}"/>
              </a:ext>
            </a:extLst>
          </p:cNvPr>
          <p:cNvSpPr/>
          <p:nvPr/>
        </p:nvSpPr>
        <p:spPr>
          <a:xfrm>
            <a:off x="8835405" y="5309038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pic>
        <p:nvPicPr>
          <p:cNvPr id="1087" name="Picture 4" descr="First Eclipse Tractus-X Community Days: December, 7th + 8th 2023 |  ARENA2036 EN">
            <a:extLst>
              <a:ext uri="{FF2B5EF4-FFF2-40B4-BE49-F238E27FC236}">
                <a16:creationId xmlns:a16="http://schemas.microsoft.com/office/drawing/2014/main" id="{F8CFECF5-9F42-F808-9D75-74DFAA37F1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5440" y="5323089"/>
            <a:ext cx="750310" cy="172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88" name="Rectangle 5">
            <a:extLst>
              <a:ext uri="{FF2B5EF4-FFF2-40B4-BE49-F238E27FC236}">
                <a16:creationId xmlns:a16="http://schemas.microsoft.com/office/drawing/2014/main" id="{830EBFAE-2357-BE32-E9DE-31CE4CEFCC01}"/>
              </a:ext>
            </a:extLst>
          </p:cNvPr>
          <p:cNvSpPr/>
          <p:nvPr/>
        </p:nvSpPr>
        <p:spPr>
          <a:xfrm>
            <a:off x="4769664" y="1992318"/>
            <a:ext cx="5941385" cy="324000"/>
          </a:xfrm>
          <a:prstGeom prst="rect">
            <a:avLst/>
          </a:prstGeom>
          <a:solidFill>
            <a:schemeClr val="tx2"/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Major Release </a:t>
            </a:r>
            <a:br>
              <a:rPr lang="en-US" sz="1000" b="1" kern="0" dirty="0">
                <a:latin typeface="Manrope" pitchFamily="2" charset="0"/>
              </a:rPr>
            </a:b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urrent</a:t>
            </a:r>
          </a:p>
        </p:txBody>
      </p:sp>
      <p:sp>
        <p:nvSpPr>
          <p:cNvPr id="1089" name="Rectangle 7">
            <a:extLst>
              <a:ext uri="{FF2B5EF4-FFF2-40B4-BE49-F238E27FC236}">
                <a16:creationId xmlns:a16="http://schemas.microsoft.com/office/drawing/2014/main" id="{47948414-6365-8E11-51B4-C77D9E6BBADF}"/>
              </a:ext>
            </a:extLst>
          </p:cNvPr>
          <p:cNvSpPr/>
          <p:nvPr/>
        </p:nvSpPr>
        <p:spPr>
          <a:xfrm>
            <a:off x="2131542" y="1671286"/>
            <a:ext cx="2638122" cy="324000"/>
          </a:xfrm>
          <a:prstGeom prst="rect">
            <a:avLst/>
          </a:prstGeom>
          <a:solidFill>
            <a:schemeClr val="tx2"/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Minor Release 24.03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5 Months</a:t>
            </a:r>
          </a:p>
        </p:txBody>
      </p:sp>
      <p:sp>
        <p:nvSpPr>
          <p:cNvPr id="1090" name="Rectangle 11">
            <a:extLst>
              <a:ext uri="{FF2B5EF4-FFF2-40B4-BE49-F238E27FC236}">
                <a16:creationId xmlns:a16="http://schemas.microsoft.com/office/drawing/2014/main" id="{3E8B6223-C1AD-6E90-447B-B37DF5B66B81}"/>
              </a:ext>
            </a:extLst>
          </p:cNvPr>
          <p:cNvSpPr/>
          <p:nvPr/>
        </p:nvSpPr>
        <p:spPr>
          <a:xfrm>
            <a:off x="10711049" y="2323860"/>
            <a:ext cx="1448573" cy="32400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2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Mars</a:t>
            </a:r>
            <a:br>
              <a:rPr kumimoji="0" lang="en-US" sz="1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</a:b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Current</a:t>
            </a:r>
            <a:endParaRPr kumimoji="0" lang="en-US" sz="10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1091" name="Rechteck 7">
            <a:extLst>
              <a:ext uri="{FF2B5EF4-FFF2-40B4-BE49-F238E27FC236}">
                <a16:creationId xmlns:a16="http://schemas.microsoft.com/office/drawing/2014/main" id="{32003B57-80F0-C2FD-A111-FD2B498B565D}"/>
              </a:ext>
            </a:extLst>
          </p:cNvPr>
          <p:cNvSpPr/>
          <p:nvPr/>
        </p:nvSpPr>
        <p:spPr>
          <a:xfrm>
            <a:off x="9400788" y="2849457"/>
            <a:ext cx="1356561" cy="576000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595959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Operational</a:t>
            </a:r>
            <a:b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Deployment Phase</a:t>
            </a:r>
            <a:b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Mars</a:t>
            </a:r>
          </a:p>
        </p:txBody>
      </p:sp>
      <p:sp>
        <p:nvSpPr>
          <p:cNvPr id="1093" name="TextBox 114">
            <a:extLst>
              <a:ext uri="{FF2B5EF4-FFF2-40B4-BE49-F238E27FC236}">
                <a16:creationId xmlns:a16="http://schemas.microsoft.com/office/drawing/2014/main" id="{57E8E1C9-6989-3EBD-E118-F8E7C161D6D9}"/>
              </a:ext>
            </a:extLst>
          </p:cNvPr>
          <p:cNvSpPr txBox="1"/>
          <p:nvPr/>
        </p:nvSpPr>
        <p:spPr>
          <a:xfrm>
            <a:off x="11035812" y="5644872"/>
            <a:ext cx="727577" cy="329609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25.12</a:t>
            </a:r>
          </a:p>
        </p:txBody>
      </p:sp>
      <p:sp>
        <p:nvSpPr>
          <p:cNvPr id="1094" name="Flowchart: Decision 140">
            <a:extLst>
              <a:ext uri="{FF2B5EF4-FFF2-40B4-BE49-F238E27FC236}">
                <a16:creationId xmlns:a16="http://schemas.microsoft.com/office/drawing/2014/main" id="{4ADD1D8E-54D0-1E9C-CADE-158ED3775B72}"/>
              </a:ext>
            </a:extLst>
          </p:cNvPr>
          <p:cNvSpPr/>
          <p:nvPr/>
        </p:nvSpPr>
        <p:spPr>
          <a:xfrm>
            <a:off x="10726158" y="3138124"/>
            <a:ext cx="245804" cy="255634"/>
          </a:xfrm>
          <a:prstGeom prst="flowChartDecision">
            <a:avLst/>
          </a:prstGeom>
          <a:solidFill>
            <a:srgbClr val="FFC000"/>
          </a:solidFill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en-US" sz="1905">
              <a:solidFill>
                <a:srgbClr val="000000">
                  <a:lumMod val="65000"/>
                  <a:lumOff val="35000"/>
                </a:srgbClr>
              </a:solidFill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095" name="TextBox 141">
            <a:extLst>
              <a:ext uri="{FF2B5EF4-FFF2-40B4-BE49-F238E27FC236}">
                <a16:creationId xmlns:a16="http://schemas.microsoft.com/office/drawing/2014/main" id="{AB81E919-A569-0E70-C4A4-72CA24D0AA43}"/>
              </a:ext>
            </a:extLst>
          </p:cNvPr>
          <p:cNvSpPr txBox="1"/>
          <p:nvPr/>
        </p:nvSpPr>
        <p:spPr>
          <a:xfrm>
            <a:off x="10823927" y="2826805"/>
            <a:ext cx="727577" cy="32960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600" b="1" dirty="0">
                <a:latin typeface="Manrope" pitchFamily="2" charset="0"/>
                <a:cs typeface="Arial" panose="020B0604020202020204" pitchFamily="34" charset="0"/>
              </a:rPr>
              <a:t>Mars</a:t>
            </a:r>
          </a:p>
        </p:txBody>
      </p:sp>
      <p:sp>
        <p:nvSpPr>
          <p:cNvPr id="1096" name="Rechteck 7">
            <a:extLst>
              <a:ext uri="{FF2B5EF4-FFF2-40B4-BE49-F238E27FC236}">
                <a16:creationId xmlns:a16="http://schemas.microsoft.com/office/drawing/2014/main" id="{E59B5850-4233-5AFE-2B91-657DCD9525FE}"/>
              </a:ext>
            </a:extLst>
          </p:cNvPr>
          <p:cNvSpPr/>
          <p:nvPr/>
        </p:nvSpPr>
        <p:spPr>
          <a:xfrm>
            <a:off x="6526908" y="2849457"/>
            <a:ext cx="1356561" cy="576000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595959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Operational</a:t>
            </a:r>
            <a:b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Deployment Phase</a:t>
            </a:r>
            <a:b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Io</a:t>
            </a:r>
          </a:p>
        </p:txBody>
      </p:sp>
      <p:sp>
        <p:nvSpPr>
          <p:cNvPr id="1098" name="Flowchart: Decision 10">
            <a:extLst>
              <a:ext uri="{FF2B5EF4-FFF2-40B4-BE49-F238E27FC236}">
                <a16:creationId xmlns:a16="http://schemas.microsoft.com/office/drawing/2014/main" id="{7727B37E-D2D6-784A-8957-EDC02E0B3BB8}"/>
              </a:ext>
            </a:extLst>
          </p:cNvPr>
          <p:cNvSpPr/>
          <p:nvPr/>
        </p:nvSpPr>
        <p:spPr>
          <a:xfrm>
            <a:off x="7848981" y="3138124"/>
            <a:ext cx="245804" cy="255634"/>
          </a:xfrm>
          <a:prstGeom prst="flowChartDecision">
            <a:avLst/>
          </a:prstGeom>
          <a:solidFill>
            <a:srgbClr val="FFCA21">
              <a:lumMod val="50000"/>
            </a:srgbClr>
          </a:solidFill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905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099" name="TextBox 13">
            <a:extLst>
              <a:ext uri="{FF2B5EF4-FFF2-40B4-BE49-F238E27FC236}">
                <a16:creationId xmlns:a16="http://schemas.microsoft.com/office/drawing/2014/main" id="{BA4E2C69-ABAB-6E15-BF9C-EABC06B75B65}"/>
              </a:ext>
            </a:extLst>
          </p:cNvPr>
          <p:cNvSpPr txBox="1"/>
          <p:nvPr/>
        </p:nvSpPr>
        <p:spPr>
          <a:xfrm>
            <a:off x="7936361" y="2826805"/>
            <a:ext cx="727577" cy="32960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600" b="1" dirty="0">
                <a:latin typeface="Manrope" pitchFamily="2" charset="0"/>
                <a:cs typeface="Arial" panose="020B0604020202020204" pitchFamily="34" charset="0"/>
              </a:rPr>
              <a:t>Io</a:t>
            </a:r>
          </a:p>
        </p:txBody>
      </p:sp>
      <p:sp>
        <p:nvSpPr>
          <p:cNvPr id="1100" name="Rectangle 1">
            <a:extLst>
              <a:ext uri="{FF2B5EF4-FFF2-40B4-BE49-F238E27FC236}">
                <a16:creationId xmlns:a16="http://schemas.microsoft.com/office/drawing/2014/main" id="{472F809F-B467-EB4C-C99A-F33AE47A4463}"/>
              </a:ext>
            </a:extLst>
          </p:cNvPr>
          <p:cNvSpPr/>
          <p:nvPr/>
        </p:nvSpPr>
        <p:spPr>
          <a:xfrm>
            <a:off x="10711048" y="1988292"/>
            <a:ext cx="1448573" cy="324000"/>
          </a:xfrm>
          <a:prstGeom prst="rect">
            <a:avLst/>
          </a:prstGeom>
          <a:solidFill>
            <a:schemeClr val="tx2"/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Jupiter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anrope" pitchFamily="2" charset="0"/>
                <a:ea typeface="+mn-ea"/>
                <a:cs typeface="+mn-cs"/>
              </a:rPr>
              <a:t>Maintenance</a:t>
            </a:r>
            <a:endParaRPr kumimoji="0" lang="en-US" sz="10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Manrope" pitchFamily="2" charset="0"/>
              <a:ea typeface="+mn-ea"/>
              <a:cs typeface="+mn-cs"/>
            </a:endParaRPr>
          </a:p>
        </p:txBody>
      </p:sp>
      <p:sp>
        <p:nvSpPr>
          <p:cNvPr id="1101" name="Rechteck 7">
            <a:extLst>
              <a:ext uri="{FF2B5EF4-FFF2-40B4-BE49-F238E27FC236}">
                <a16:creationId xmlns:a16="http://schemas.microsoft.com/office/drawing/2014/main" id="{8C764987-2B63-62B3-D2F3-7C3772AF3B4D}"/>
              </a:ext>
            </a:extLst>
          </p:cNvPr>
          <p:cNvSpPr/>
          <p:nvPr/>
        </p:nvSpPr>
        <p:spPr>
          <a:xfrm>
            <a:off x="3436252" y="2849457"/>
            <a:ext cx="1356561" cy="576000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595959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Operational</a:t>
            </a:r>
            <a:b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Deployment Phase</a:t>
            </a:r>
            <a:b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Jupiter</a:t>
            </a:r>
          </a:p>
        </p:txBody>
      </p:sp>
      <p:sp>
        <p:nvSpPr>
          <p:cNvPr id="1103" name="Flowchart: Decision 137">
            <a:extLst>
              <a:ext uri="{FF2B5EF4-FFF2-40B4-BE49-F238E27FC236}">
                <a16:creationId xmlns:a16="http://schemas.microsoft.com/office/drawing/2014/main" id="{18D8CE16-6FFD-5CB6-80FD-0DDDECA59250}"/>
              </a:ext>
            </a:extLst>
          </p:cNvPr>
          <p:cNvSpPr/>
          <p:nvPr/>
        </p:nvSpPr>
        <p:spPr>
          <a:xfrm>
            <a:off x="4771622" y="3138124"/>
            <a:ext cx="245804" cy="255634"/>
          </a:xfrm>
          <a:prstGeom prst="flowChartDecision">
            <a:avLst/>
          </a:prstGeom>
          <a:solidFill>
            <a:srgbClr val="FFC000"/>
          </a:solidFill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en-US" sz="1905">
              <a:solidFill>
                <a:srgbClr val="000000">
                  <a:lumMod val="65000"/>
                  <a:lumOff val="35000"/>
                </a:srgbClr>
              </a:solidFill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104" name="TextBox 138">
            <a:extLst>
              <a:ext uri="{FF2B5EF4-FFF2-40B4-BE49-F238E27FC236}">
                <a16:creationId xmlns:a16="http://schemas.microsoft.com/office/drawing/2014/main" id="{B59836C4-0EAF-D74B-6E4C-4D30D8C86BBE}"/>
              </a:ext>
            </a:extLst>
          </p:cNvPr>
          <p:cNvSpPr txBox="1"/>
          <p:nvPr/>
        </p:nvSpPr>
        <p:spPr>
          <a:xfrm>
            <a:off x="4835322" y="2826805"/>
            <a:ext cx="727577" cy="32960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600" b="1" dirty="0">
                <a:latin typeface="Manrope" pitchFamily="2" charset="0"/>
                <a:cs typeface="Arial" panose="020B0604020202020204" pitchFamily="34" charset="0"/>
              </a:rPr>
              <a:t>Jupiter</a:t>
            </a:r>
          </a:p>
        </p:txBody>
      </p:sp>
      <p:sp>
        <p:nvSpPr>
          <p:cNvPr id="1105" name="TextBox 117">
            <a:extLst>
              <a:ext uri="{FF2B5EF4-FFF2-40B4-BE49-F238E27FC236}">
                <a16:creationId xmlns:a16="http://schemas.microsoft.com/office/drawing/2014/main" id="{FE5DFCDE-2623-1460-A98C-11F213C46A7C}"/>
              </a:ext>
            </a:extLst>
          </p:cNvPr>
          <p:cNvSpPr txBox="1"/>
          <p:nvPr/>
        </p:nvSpPr>
        <p:spPr>
          <a:xfrm>
            <a:off x="2338104" y="5644872"/>
            <a:ext cx="727577" cy="32960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24.05</a:t>
            </a:r>
          </a:p>
        </p:txBody>
      </p:sp>
      <p:sp>
        <p:nvSpPr>
          <p:cNvPr id="1106" name="TextBox 109">
            <a:extLst>
              <a:ext uri="{FF2B5EF4-FFF2-40B4-BE49-F238E27FC236}">
                <a16:creationId xmlns:a16="http://schemas.microsoft.com/office/drawing/2014/main" id="{57FC68D2-6584-AAEB-E417-5D5D053F854F}"/>
              </a:ext>
            </a:extLst>
          </p:cNvPr>
          <p:cNvSpPr txBox="1"/>
          <p:nvPr/>
        </p:nvSpPr>
        <p:spPr>
          <a:xfrm>
            <a:off x="8153331" y="5644872"/>
            <a:ext cx="727577" cy="32960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25.06</a:t>
            </a:r>
          </a:p>
        </p:txBody>
      </p:sp>
      <p:sp>
        <p:nvSpPr>
          <p:cNvPr id="1108" name="TextBox 34">
            <a:extLst>
              <a:ext uri="{FF2B5EF4-FFF2-40B4-BE49-F238E27FC236}">
                <a16:creationId xmlns:a16="http://schemas.microsoft.com/office/drawing/2014/main" id="{BACCCB90-1515-918D-93E2-8CE320E20C9A}"/>
              </a:ext>
            </a:extLst>
          </p:cNvPr>
          <p:cNvSpPr txBox="1"/>
          <p:nvPr/>
        </p:nvSpPr>
        <p:spPr>
          <a:xfrm>
            <a:off x="3239659" y="3754874"/>
            <a:ext cx="821507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800" dirty="0">
                <a:latin typeface="Manrope" pitchFamily="2" charset="0"/>
                <a:cs typeface="Arial" panose="020B0604020202020204" pitchFamily="34" charset="0"/>
              </a:rPr>
              <a:t>Deployment </a:t>
            </a:r>
            <a:br>
              <a:rPr lang="en-US" sz="800" dirty="0">
                <a:latin typeface="Manrope" pitchFamily="2" charset="0"/>
                <a:cs typeface="Arial" panose="020B0604020202020204" pitchFamily="34" charset="0"/>
              </a:rPr>
            </a:br>
            <a:r>
              <a:rPr lang="en-US" sz="800" dirty="0">
                <a:latin typeface="Manrope" pitchFamily="2" charset="0"/>
                <a:cs typeface="Arial" panose="020B0604020202020204" pitchFamily="34" charset="0"/>
              </a:rPr>
              <a:t>Gate </a:t>
            </a:r>
            <a:r>
              <a:rPr lang="en-US" sz="800" b="1" dirty="0">
                <a:latin typeface="Manrope" pitchFamily="2" charset="0"/>
                <a:cs typeface="Arial" panose="020B0604020202020204" pitchFamily="34" charset="0"/>
              </a:rPr>
              <a:t>Jupiter</a:t>
            </a:r>
          </a:p>
        </p:txBody>
      </p:sp>
      <p:pic>
        <p:nvPicPr>
          <p:cNvPr id="1109" name="Grafik 1108" descr="Filter mit einfarbiger Füllung">
            <a:extLst>
              <a:ext uri="{FF2B5EF4-FFF2-40B4-BE49-F238E27FC236}">
                <a16:creationId xmlns:a16="http://schemas.microsoft.com/office/drawing/2014/main" id="{DCC98BC5-0C94-44B7-0E9B-329049699A6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3962194" y="3731840"/>
            <a:ext cx="360000" cy="360000"/>
          </a:xfrm>
          <a:prstGeom prst="rect">
            <a:avLst/>
          </a:prstGeom>
        </p:spPr>
      </p:pic>
      <p:sp>
        <p:nvSpPr>
          <p:cNvPr id="1111" name="TextBox 34">
            <a:extLst>
              <a:ext uri="{FF2B5EF4-FFF2-40B4-BE49-F238E27FC236}">
                <a16:creationId xmlns:a16="http://schemas.microsoft.com/office/drawing/2014/main" id="{814C822C-159A-7F77-EDEF-0D7ADBF9201E}"/>
              </a:ext>
            </a:extLst>
          </p:cNvPr>
          <p:cNvSpPr txBox="1"/>
          <p:nvPr/>
        </p:nvSpPr>
        <p:spPr>
          <a:xfrm>
            <a:off x="6214959" y="3754874"/>
            <a:ext cx="821507" cy="3139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800" dirty="0">
                <a:latin typeface="Manrope" pitchFamily="2" charset="0"/>
                <a:cs typeface="Arial"/>
              </a:rPr>
              <a:t>Deployment </a:t>
            </a:r>
            <a:br>
              <a:rPr lang="en-US" sz="800" dirty="0">
                <a:latin typeface="Manrope" pitchFamily="2" charset="0"/>
                <a:cs typeface="Arial" panose="020B0604020202020204" pitchFamily="34" charset="0"/>
              </a:rPr>
            </a:br>
            <a:r>
              <a:rPr lang="en-US" sz="800" dirty="0">
                <a:latin typeface="Manrope" pitchFamily="2" charset="0"/>
                <a:cs typeface="Arial"/>
              </a:rPr>
              <a:t>Gate </a:t>
            </a:r>
            <a:r>
              <a:rPr lang="en-US" sz="800" b="1" dirty="0">
                <a:latin typeface="Manrope" pitchFamily="2" charset="0"/>
                <a:cs typeface="Arial"/>
              </a:rPr>
              <a:t>Io</a:t>
            </a:r>
            <a:endParaRPr lang="en-US" sz="800" b="1" dirty="0">
              <a:latin typeface="Manrope" pitchFamily="2" charset="0"/>
              <a:cs typeface="Arial" panose="020B0604020202020204" pitchFamily="34" charset="0"/>
            </a:endParaRPr>
          </a:p>
        </p:txBody>
      </p:sp>
      <p:pic>
        <p:nvPicPr>
          <p:cNvPr id="1112" name="Grafik 1111" descr="Filter mit einfarbiger Füllung">
            <a:extLst>
              <a:ext uri="{FF2B5EF4-FFF2-40B4-BE49-F238E27FC236}">
                <a16:creationId xmlns:a16="http://schemas.microsoft.com/office/drawing/2014/main" id="{9E148C88-1C6F-C4E9-9AB7-3A14F1CECFF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6857982" y="3731840"/>
            <a:ext cx="360000" cy="360000"/>
          </a:xfrm>
          <a:prstGeom prst="rect">
            <a:avLst/>
          </a:prstGeom>
        </p:spPr>
      </p:pic>
      <p:sp>
        <p:nvSpPr>
          <p:cNvPr id="1114" name="TextBox 34">
            <a:extLst>
              <a:ext uri="{FF2B5EF4-FFF2-40B4-BE49-F238E27FC236}">
                <a16:creationId xmlns:a16="http://schemas.microsoft.com/office/drawing/2014/main" id="{00F9BF6A-72EF-BF4F-FD26-E1F5719866C3}"/>
              </a:ext>
            </a:extLst>
          </p:cNvPr>
          <p:cNvSpPr txBox="1"/>
          <p:nvPr/>
        </p:nvSpPr>
        <p:spPr>
          <a:xfrm>
            <a:off x="9142863" y="3754874"/>
            <a:ext cx="821507" cy="3139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800" dirty="0">
                <a:latin typeface="Manrope" pitchFamily="2" charset="0"/>
                <a:cs typeface="Arial"/>
              </a:rPr>
              <a:t>Deployment </a:t>
            </a:r>
            <a:br>
              <a:rPr lang="en-US" sz="800" dirty="0">
                <a:latin typeface="Manrope" pitchFamily="2" charset="0"/>
                <a:cs typeface="Arial" panose="020B0604020202020204" pitchFamily="34" charset="0"/>
              </a:rPr>
            </a:br>
            <a:r>
              <a:rPr lang="en-US" sz="800" dirty="0">
                <a:latin typeface="Manrope" pitchFamily="2" charset="0"/>
                <a:cs typeface="Arial"/>
              </a:rPr>
              <a:t>Gate </a:t>
            </a:r>
            <a:r>
              <a:rPr lang="en-US" sz="800" b="1" dirty="0">
                <a:latin typeface="Manrope" pitchFamily="2" charset="0"/>
                <a:cs typeface="Arial"/>
              </a:rPr>
              <a:t>Mars</a:t>
            </a:r>
            <a:endParaRPr lang="en-US" sz="800" b="1" dirty="0">
              <a:latin typeface="Manrope" pitchFamily="2" charset="0"/>
              <a:cs typeface="Arial" panose="020B0604020202020204" pitchFamily="34" charset="0"/>
            </a:endParaRPr>
          </a:p>
        </p:txBody>
      </p:sp>
      <p:pic>
        <p:nvPicPr>
          <p:cNvPr id="1115" name="Grafik 1114" descr="Filter mit einfarbiger Füllung">
            <a:extLst>
              <a:ext uri="{FF2B5EF4-FFF2-40B4-BE49-F238E27FC236}">
                <a16:creationId xmlns:a16="http://schemas.microsoft.com/office/drawing/2014/main" id="{0C858F2A-6039-BA11-8199-5DA6B7AEFA8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9835581" y="3731841"/>
            <a:ext cx="360000" cy="360000"/>
          </a:xfrm>
          <a:prstGeom prst="rect">
            <a:avLst/>
          </a:prstGeom>
        </p:spPr>
      </p:pic>
      <p:sp>
        <p:nvSpPr>
          <p:cNvPr id="1116" name="Rechteck 5">
            <a:extLst>
              <a:ext uri="{FF2B5EF4-FFF2-40B4-BE49-F238E27FC236}">
                <a16:creationId xmlns:a16="http://schemas.microsoft.com/office/drawing/2014/main" id="{E81418D8-D5AC-34B5-492B-E4E5A7864887}"/>
              </a:ext>
            </a:extLst>
          </p:cNvPr>
          <p:cNvSpPr/>
          <p:nvPr/>
        </p:nvSpPr>
        <p:spPr>
          <a:xfrm>
            <a:off x="10294191" y="4475200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bg2"/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pic>
        <p:nvPicPr>
          <p:cNvPr id="1117" name="Grafik 19">
            <a:extLst>
              <a:ext uri="{FF2B5EF4-FFF2-40B4-BE49-F238E27FC236}">
                <a16:creationId xmlns:a16="http://schemas.microsoft.com/office/drawing/2014/main" id="{BED324FD-335E-9A9D-F1A5-F9D6236F4D7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579" r="-6380"/>
          <a:stretch/>
        </p:blipFill>
        <p:spPr>
          <a:xfrm>
            <a:off x="10298366" y="4491065"/>
            <a:ext cx="683529" cy="160134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1118" name="Rechteck 5">
            <a:extLst>
              <a:ext uri="{FF2B5EF4-FFF2-40B4-BE49-F238E27FC236}">
                <a16:creationId xmlns:a16="http://schemas.microsoft.com/office/drawing/2014/main" id="{9E94A974-F98A-C61F-1C15-79D085533E3F}"/>
              </a:ext>
            </a:extLst>
          </p:cNvPr>
          <p:cNvSpPr/>
          <p:nvPr/>
        </p:nvSpPr>
        <p:spPr>
          <a:xfrm>
            <a:off x="10294191" y="5312739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pic>
        <p:nvPicPr>
          <p:cNvPr id="1119" name="Picture 4" descr="First Eclipse Tractus-X Community Days: December, 7th + 8th 2023 |  ARENA2036 EN">
            <a:extLst>
              <a:ext uri="{FF2B5EF4-FFF2-40B4-BE49-F238E27FC236}">
                <a16:creationId xmlns:a16="http://schemas.microsoft.com/office/drawing/2014/main" id="{43E1E856-8036-8D69-9872-BD7450B193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2935" y="5326790"/>
            <a:ext cx="750310" cy="172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0" name="Flowchart: Decision 62">
            <a:extLst>
              <a:ext uri="{FF2B5EF4-FFF2-40B4-BE49-F238E27FC236}">
                <a16:creationId xmlns:a16="http://schemas.microsoft.com/office/drawing/2014/main" id="{114B11B0-2C25-4760-CB07-30D821D0C18C}"/>
              </a:ext>
            </a:extLst>
          </p:cNvPr>
          <p:cNvSpPr/>
          <p:nvPr/>
        </p:nvSpPr>
        <p:spPr>
          <a:xfrm>
            <a:off x="5690110" y="5350899"/>
            <a:ext cx="245804" cy="255634"/>
          </a:xfrm>
          <a:prstGeom prst="flowChartDecision">
            <a:avLst/>
          </a:prstGeom>
          <a:solidFill>
            <a:srgbClr val="FF0000"/>
          </a:solidFill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en-US" sz="1905">
              <a:solidFill>
                <a:srgbClr val="000000">
                  <a:lumMod val="65000"/>
                  <a:lumOff val="35000"/>
                </a:srgbClr>
              </a:solidFill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121" name="TextBox 63">
            <a:extLst>
              <a:ext uri="{FF2B5EF4-FFF2-40B4-BE49-F238E27FC236}">
                <a16:creationId xmlns:a16="http://schemas.microsoft.com/office/drawing/2014/main" id="{89DB7808-F3B5-4AF3-737A-F76A2EE3B3CB}"/>
              </a:ext>
            </a:extLst>
          </p:cNvPr>
          <p:cNvSpPr txBox="1"/>
          <p:nvPr/>
        </p:nvSpPr>
        <p:spPr>
          <a:xfrm>
            <a:off x="5191747" y="5644872"/>
            <a:ext cx="727577" cy="329609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200" b="1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24.12</a:t>
            </a:r>
          </a:p>
        </p:txBody>
      </p:sp>
      <p:sp>
        <p:nvSpPr>
          <p:cNvPr id="1122" name="Flowchart: Decision 69">
            <a:extLst>
              <a:ext uri="{FF2B5EF4-FFF2-40B4-BE49-F238E27FC236}">
                <a16:creationId xmlns:a16="http://schemas.microsoft.com/office/drawing/2014/main" id="{9F6BA7BE-60C9-C275-B3D7-32E5228B83BE}"/>
              </a:ext>
            </a:extLst>
          </p:cNvPr>
          <p:cNvSpPr/>
          <p:nvPr/>
        </p:nvSpPr>
        <p:spPr>
          <a:xfrm>
            <a:off x="4240748" y="5350899"/>
            <a:ext cx="245804" cy="255634"/>
          </a:xfrm>
          <a:prstGeom prst="flowChartDecision">
            <a:avLst/>
          </a:prstGeom>
          <a:solidFill>
            <a:srgbClr val="FF0000"/>
          </a:solidFill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en-US" sz="1905">
              <a:solidFill>
                <a:srgbClr val="000000">
                  <a:lumMod val="65000"/>
                  <a:lumOff val="35000"/>
                </a:srgbClr>
              </a:solidFill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123" name="TextBox 70">
            <a:extLst>
              <a:ext uri="{FF2B5EF4-FFF2-40B4-BE49-F238E27FC236}">
                <a16:creationId xmlns:a16="http://schemas.microsoft.com/office/drawing/2014/main" id="{F8E99F0C-A290-EB02-24D0-E33193EABC34}"/>
              </a:ext>
            </a:extLst>
          </p:cNvPr>
          <p:cNvSpPr txBox="1"/>
          <p:nvPr/>
        </p:nvSpPr>
        <p:spPr>
          <a:xfrm>
            <a:off x="3748871" y="5644872"/>
            <a:ext cx="727577" cy="32960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24.08</a:t>
            </a:r>
          </a:p>
        </p:txBody>
      </p:sp>
      <p:sp>
        <p:nvSpPr>
          <p:cNvPr id="1124" name="Flowchart: Decision 116">
            <a:extLst>
              <a:ext uri="{FF2B5EF4-FFF2-40B4-BE49-F238E27FC236}">
                <a16:creationId xmlns:a16="http://schemas.microsoft.com/office/drawing/2014/main" id="{33AF8111-2896-FA5C-5C66-FA0CC355A4F1}"/>
              </a:ext>
            </a:extLst>
          </p:cNvPr>
          <p:cNvSpPr/>
          <p:nvPr/>
        </p:nvSpPr>
        <p:spPr>
          <a:xfrm>
            <a:off x="2804323" y="5350899"/>
            <a:ext cx="245804" cy="255634"/>
          </a:xfrm>
          <a:prstGeom prst="flowChartDecision">
            <a:avLst/>
          </a:prstGeom>
          <a:solidFill>
            <a:srgbClr val="C00000"/>
          </a:solidFill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en-US" sz="1905">
              <a:solidFill>
                <a:srgbClr val="000000">
                  <a:lumMod val="65000"/>
                  <a:lumOff val="35000"/>
                </a:srgbClr>
              </a:solidFill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125" name="TextBox 78">
            <a:extLst>
              <a:ext uri="{FF2B5EF4-FFF2-40B4-BE49-F238E27FC236}">
                <a16:creationId xmlns:a16="http://schemas.microsoft.com/office/drawing/2014/main" id="{1837872F-BDF2-0BBD-FD53-645230A5DFDD}"/>
              </a:ext>
            </a:extLst>
          </p:cNvPr>
          <p:cNvSpPr txBox="1"/>
          <p:nvPr/>
        </p:nvSpPr>
        <p:spPr>
          <a:xfrm>
            <a:off x="6695218" y="5644872"/>
            <a:ext cx="727577" cy="32960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25.03</a:t>
            </a:r>
          </a:p>
        </p:txBody>
      </p:sp>
      <p:sp>
        <p:nvSpPr>
          <p:cNvPr id="1126" name="Flowchart: Decision 72">
            <a:extLst>
              <a:ext uri="{FF2B5EF4-FFF2-40B4-BE49-F238E27FC236}">
                <a16:creationId xmlns:a16="http://schemas.microsoft.com/office/drawing/2014/main" id="{5E564577-2D28-51EE-4CCD-9D7C49026CE0}"/>
              </a:ext>
            </a:extLst>
          </p:cNvPr>
          <p:cNvSpPr/>
          <p:nvPr/>
        </p:nvSpPr>
        <p:spPr>
          <a:xfrm>
            <a:off x="7155267" y="5350899"/>
            <a:ext cx="245804" cy="255634"/>
          </a:xfrm>
          <a:prstGeom prst="flowChartDecision">
            <a:avLst/>
          </a:prstGeom>
          <a:solidFill>
            <a:srgbClr val="FF0000"/>
          </a:solidFill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en-US" sz="1905">
              <a:solidFill>
                <a:srgbClr val="000000">
                  <a:lumMod val="65000"/>
                  <a:lumOff val="35000"/>
                </a:srgbClr>
              </a:solidFill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127" name="Flowchart: Decision 97">
            <a:extLst>
              <a:ext uri="{FF2B5EF4-FFF2-40B4-BE49-F238E27FC236}">
                <a16:creationId xmlns:a16="http://schemas.microsoft.com/office/drawing/2014/main" id="{7EEBDA77-927F-9961-BB43-F0C3C4264DDB}"/>
              </a:ext>
            </a:extLst>
          </p:cNvPr>
          <p:cNvSpPr/>
          <p:nvPr/>
        </p:nvSpPr>
        <p:spPr>
          <a:xfrm>
            <a:off x="8618139" y="5350899"/>
            <a:ext cx="245804" cy="255634"/>
          </a:xfrm>
          <a:prstGeom prst="flowChartDecision">
            <a:avLst/>
          </a:prstGeom>
          <a:solidFill>
            <a:srgbClr val="C00000"/>
          </a:solidFill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en-US" sz="1905">
              <a:solidFill>
                <a:srgbClr val="000000">
                  <a:lumMod val="65000"/>
                  <a:lumOff val="35000"/>
                </a:srgbClr>
              </a:solidFill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128" name="Flowchart: Decision 120">
            <a:extLst>
              <a:ext uri="{FF2B5EF4-FFF2-40B4-BE49-F238E27FC236}">
                <a16:creationId xmlns:a16="http://schemas.microsoft.com/office/drawing/2014/main" id="{70755D88-335B-80D2-20D5-B78C449A1906}"/>
              </a:ext>
            </a:extLst>
          </p:cNvPr>
          <p:cNvSpPr/>
          <p:nvPr/>
        </p:nvSpPr>
        <p:spPr>
          <a:xfrm>
            <a:off x="10059760" y="5350899"/>
            <a:ext cx="245804" cy="255634"/>
          </a:xfrm>
          <a:prstGeom prst="flowChartDecision">
            <a:avLst/>
          </a:prstGeom>
          <a:solidFill>
            <a:srgbClr val="FF0000"/>
          </a:solidFill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en-US" sz="1905">
              <a:solidFill>
                <a:srgbClr val="000000">
                  <a:lumMod val="65000"/>
                  <a:lumOff val="35000"/>
                </a:srgbClr>
              </a:solidFill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129" name="TextBox 121">
            <a:extLst>
              <a:ext uri="{FF2B5EF4-FFF2-40B4-BE49-F238E27FC236}">
                <a16:creationId xmlns:a16="http://schemas.microsoft.com/office/drawing/2014/main" id="{09200547-0212-FD90-5231-9129C378AD0D}"/>
              </a:ext>
            </a:extLst>
          </p:cNvPr>
          <p:cNvSpPr txBox="1"/>
          <p:nvPr/>
        </p:nvSpPr>
        <p:spPr>
          <a:xfrm>
            <a:off x="9591721" y="5644872"/>
            <a:ext cx="727577" cy="32960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25.09</a:t>
            </a:r>
          </a:p>
        </p:txBody>
      </p:sp>
      <p:sp>
        <p:nvSpPr>
          <p:cNvPr id="1130" name="Flowchart: Decision 113">
            <a:extLst>
              <a:ext uri="{FF2B5EF4-FFF2-40B4-BE49-F238E27FC236}">
                <a16:creationId xmlns:a16="http://schemas.microsoft.com/office/drawing/2014/main" id="{41793831-E67A-CE0A-728C-A1DC59F272AC}"/>
              </a:ext>
            </a:extLst>
          </p:cNvPr>
          <p:cNvSpPr/>
          <p:nvPr/>
        </p:nvSpPr>
        <p:spPr>
          <a:xfrm>
            <a:off x="11520276" y="5350899"/>
            <a:ext cx="245804" cy="255634"/>
          </a:xfrm>
          <a:prstGeom prst="flowChartDecision">
            <a:avLst/>
          </a:prstGeom>
          <a:solidFill>
            <a:srgbClr val="FF0000"/>
          </a:solidFill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en-US" sz="1905">
              <a:solidFill>
                <a:srgbClr val="000000">
                  <a:lumMod val="65000"/>
                  <a:lumOff val="35000"/>
                </a:srgbClr>
              </a:solidFill>
              <a:latin typeface="Manrope" pitchFamily="2" charset="0"/>
              <a:cs typeface="Arial" panose="020B0604020202020204" pitchFamily="34" charset="0"/>
            </a:endParaRPr>
          </a:p>
        </p:txBody>
      </p:sp>
      <p:pic>
        <p:nvPicPr>
          <p:cNvPr id="1132" name="Grafik 1131" descr="Wiederholen mit einfarbiger Füllung">
            <a:extLst>
              <a:ext uri="{FF2B5EF4-FFF2-40B4-BE49-F238E27FC236}">
                <a16:creationId xmlns:a16="http://schemas.microsoft.com/office/drawing/2014/main" id="{67D443DF-D4D6-B7E4-C704-7CDFE0B3CC3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00643" y="4929895"/>
            <a:ext cx="252000" cy="252000"/>
          </a:xfrm>
          <a:prstGeom prst="rect">
            <a:avLst/>
          </a:prstGeom>
        </p:spPr>
      </p:pic>
      <p:pic>
        <p:nvPicPr>
          <p:cNvPr id="1133" name="Grafik 1132" descr="Wiederholen mit einfarbiger Füllung">
            <a:extLst>
              <a:ext uri="{FF2B5EF4-FFF2-40B4-BE49-F238E27FC236}">
                <a16:creationId xmlns:a16="http://schemas.microsoft.com/office/drawing/2014/main" id="{176580EC-B287-3E3E-0B60-3454DAE6151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18758" y="4928063"/>
            <a:ext cx="252000" cy="252000"/>
          </a:xfrm>
          <a:prstGeom prst="rect">
            <a:avLst/>
          </a:prstGeom>
        </p:spPr>
      </p:pic>
      <p:pic>
        <p:nvPicPr>
          <p:cNvPr id="1135" name="Grafik 1134" descr="Wiederholen mit einfarbiger Füllung">
            <a:extLst>
              <a:ext uri="{FF2B5EF4-FFF2-40B4-BE49-F238E27FC236}">
                <a16:creationId xmlns:a16="http://schemas.microsoft.com/office/drawing/2014/main" id="{4EFE4EF5-F8C7-CD93-A82C-E0E2D7DA39C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27455" y="4926592"/>
            <a:ext cx="252000" cy="252000"/>
          </a:xfrm>
          <a:prstGeom prst="rect">
            <a:avLst/>
          </a:prstGeom>
        </p:spPr>
      </p:pic>
      <p:pic>
        <p:nvPicPr>
          <p:cNvPr id="1136" name="Grafik 1135" descr="Wiederholen mit einfarbiger Füllung">
            <a:extLst>
              <a:ext uri="{FF2B5EF4-FFF2-40B4-BE49-F238E27FC236}">
                <a16:creationId xmlns:a16="http://schemas.microsoft.com/office/drawing/2014/main" id="{0001F8EA-8684-42F5-B885-4326669F4E4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382406" y="4926592"/>
            <a:ext cx="252000" cy="252000"/>
          </a:xfrm>
          <a:prstGeom prst="rect">
            <a:avLst/>
          </a:prstGeom>
        </p:spPr>
      </p:pic>
      <p:pic>
        <p:nvPicPr>
          <p:cNvPr id="1137" name="Grafik 1136" descr="Wiederholen mit einfarbiger Füllung">
            <a:extLst>
              <a:ext uri="{FF2B5EF4-FFF2-40B4-BE49-F238E27FC236}">
                <a16:creationId xmlns:a16="http://schemas.microsoft.com/office/drawing/2014/main" id="{D892B3E6-4606-D2EC-4A2D-7FF9B0F35A3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39517" y="4926592"/>
            <a:ext cx="252000" cy="252000"/>
          </a:xfrm>
          <a:prstGeom prst="rect">
            <a:avLst/>
          </a:prstGeom>
        </p:spPr>
      </p:pic>
      <p:pic>
        <p:nvPicPr>
          <p:cNvPr id="1138" name="Grafik 1137" descr="Wiederholen mit einfarbiger Füllung">
            <a:extLst>
              <a:ext uri="{FF2B5EF4-FFF2-40B4-BE49-F238E27FC236}">
                <a16:creationId xmlns:a16="http://schemas.microsoft.com/office/drawing/2014/main" id="{C2B87190-5DB0-654A-FC23-07DBBED5216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25790" y="4926592"/>
            <a:ext cx="252000" cy="252000"/>
          </a:xfrm>
          <a:prstGeom prst="rect">
            <a:avLst/>
          </a:prstGeom>
        </p:spPr>
      </p:pic>
      <p:sp>
        <p:nvSpPr>
          <p:cNvPr id="1164" name="TextBox 34">
            <a:extLst>
              <a:ext uri="{FF2B5EF4-FFF2-40B4-BE49-F238E27FC236}">
                <a16:creationId xmlns:a16="http://schemas.microsoft.com/office/drawing/2014/main" id="{45D95C19-4E4F-D7D6-02C6-A43D2DF8EF18}"/>
              </a:ext>
            </a:extLst>
          </p:cNvPr>
          <p:cNvSpPr txBox="1"/>
          <p:nvPr/>
        </p:nvSpPr>
        <p:spPr>
          <a:xfrm>
            <a:off x="8839266" y="6084184"/>
            <a:ext cx="2866209" cy="3139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* e.g., Open Refinement &amp; Open Planning Events, Joint Testing, etc. (see C-X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Manrope" pitchFamily="2" charset="0"/>
                <a:cs typeface="Arial" panose="020B060402020202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orking Model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for details)</a:t>
            </a:r>
          </a:p>
        </p:txBody>
      </p:sp>
      <p:sp>
        <p:nvSpPr>
          <p:cNvPr id="10" name="TextBox 34">
            <a:extLst>
              <a:ext uri="{FF2B5EF4-FFF2-40B4-BE49-F238E27FC236}">
                <a16:creationId xmlns:a16="http://schemas.microsoft.com/office/drawing/2014/main" id="{A4CBD385-ED37-D276-5F36-5BF87FBC52F7}"/>
              </a:ext>
            </a:extLst>
          </p:cNvPr>
          <p:cNvSpPr txBox="1"/>
          <p:nvPr/>
        </p:nvSpPr>
        <p:spPr>
          <a:xfrm>
            <a:off x="2133181" y="4100025"/>
            <a:ext cx="1569214" cy="30008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txBody>
          <a:bodyPr wrap="square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Planning / Release Events 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Facilitated by Domain Manager*</a:t>
            </a:r>
          </a:p>
        </p:txBody>
      </p:sp>
      <p:cxnSp>
        <p:nvCxnSpPr>
          <p:cNvPr id="12" name="Gewinkelte Verbindung 11">
            <a:extLst>
              <a:ext uri="{FF2B5EF4-FFF2-40B4-BE49-F238E27FC236}">
                <a16:creationId xmlns:a16="http://schemas.microsoft.com/office/drawing/2014/main" id="{99ED07A7-B01A-9D1A-690D-681922F54CA9}"/>
              </a:ext>
            </a:extLst>
          </p:cNvPr>
          <p:cNvCxnSpPr>
            <a:cxnSpLocks/>
            <a:stCxn id="10" idx="1"/>
            <a:endCxn id="1065" idx="0"/>
          </p:cNvCxnSpPr>
          <p:nvPr/>
        </p:nvCxnSpPr>
        <p:spPr bwMode="gray">
          <a:xfrm rot="10800000" flipV="1">
            <a:off x="1916281" y="4250066"/>
            <a:ext cx="216900" cy="237298"/>
          </a:xfrm>
          <a:prstGeom prst="bentConnector2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34">
            <a:extLst>
              <a:ext uri="{FF2B5EF4-FFF2-40B4-BE49-F238E27FC236}">
                <a16:creationId xmlns:a16="http://schemas.microsoft.com/office/drawing/2014/main" id="{31F2C89F-12B8-BA68-F936-BEBF0620FB5C}"/>
              </a:ext>
            </a:extLst>
          </p:cNvPr>
          <p:cNvSpPr txBox="1"/>
          <p:nvPr/>
        </p:nvSpPr>
        <p:spPr>
          <a:xfrm>
            <a:off x="4553630" y="3614019"/>
            <a:ext cx="1548000" cy="30008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txBody>
          <a:bodyPr wrap="square" anchor="ctr">
            <a:spAutoFit/>
          </a:bodyPr>
          <a:lstStyle>
            <a:defPPr>
              <a:defRPr lang="de-DE"/>
            </a:defPPr>
            <a:lvl1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 sz="800" b="1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hared Services </a:t>
            </a:r>
            <a:r>
              <a:rPr lang="en-US" sz="600" b="0" dirty="0"/>
              <a:t>(e.g. testing)</a:t>
            </a:r>
            <a:br>
              <a:rPr lang="en-US" sz="700" b="0" dirty="0"/>
            </a:br>
            <a:r>
              <a:rPr lang="en-US" sz="700" b="0" dirty="0"/>
              <a:t>Facilitated by C-X MDs</a:t>
            </a:r>
            <a:endParaRPr lang="en-US" b="0" dirty="0"/>
          </a:p>
        </p:txBody>
      </p:sp>
      <p:cxnSp>
        <p:nvCxnSpPr>
          <p:cNvPr id="22" name="Gewinkelte Verbindung 21">
            <a:extLst>
              <a:ext uri="{FF2B5EF4-FFF2-40B4-BE49-F238E27FC236}">
                <a16:creationId xmlns:a16="http://schemas.microsoft.com/office/drawing/2014/main" id="{702A9EEB-76E9-741D-E1F7-856534C1A9E5}"/>
              </a:ext>
            </a:extLst>
          </p:cNvPr>
          <p:cNvCxnSpPr>
            <a:cxnSpLocks/>
            <a:stCxn id="10" idx="1"/>
            <a:endCxn id="1067" idx="0"/>
          </p:cNvCxnSpPr>
          <p:nvPr/>
        </p:nvCxnSpPr>
        <p:spPr bwMode="gray">
          <a:xfrm rot="10800000" flipV="1">
            <a:off x="1954241" y="4250065"/>
            <a:ext cx="178941" cy="1073023"/>
          </a:xfrm>
          <a:prstGeom prst="bentConnector2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9" name="TextBox 34">
            <a:extLst>
              <a:ext uri="{FF2B5EF4-FFF2-40B4-BE49-F238E27FC236}">
                <a16:creationId xmlns:a16="http://schemas.microsoft.com/office/drawing/2014/main" id="{23086DEB-655A-6619-9EAF-9A7E9528393C}"/>
              </a:ext>
            </a:extLst>
          </p:cNvPr>
          <p:cNvSpPr txBox="1"/>
          <p:nvPr/>
        </p:nvSpPr>
        <p:spPr>
          <a:xfrm>
            <a:off x="3336594" y="4856304"/>
            <a:ext cx="1648815" cy="39703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txBody>
          <a:bodyPr wrap="square" anchor="ctr">
            <a:spAutoFit/>
          </a:bodyPr>
          <a:lstStyle>
            <a:defPPr>
              <a:defRPr lang="de-DE"/>
            </a:defPPr>
            <a:lvl1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 sz="800" b="1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tinuous Alignment </a:t>
            </a:r>
            <a:br>
              <a:rPr lang="en-US" dirty="0"/>
            </a:br>
            <a:r>
              <a:rPr lang="en-US" sz="700" b="0" dirty="0"/>
              <a:t>C-X Committees / Expert Groups &amp; </a:t>
            </a:r>
            <a:br>
              <a:rPr lang="en-US" sz="700" b="0" dirty="0"/>
            </a:br>
            <a:r>
              <a:rPr lang="en-US" sz="700" b="0" dirty="0"/>
              <a:t>T-X Open-Source Developer*</a:t>
            </a:r>
            <a:endParaRPr lang="en-US" b="0" dirty="0"/>
          </a:p>
        </p:txBody>
      </p:sp>
      <p:sp>
        <p:nvSpPr>
          <p:cNvPr id="1064" name="Rechteck 5">
            <a:extLst>
              <a:ext uri="{FF2B5EF4-FFF2-40B4-BE49-F238E27FC236}">
                <a16:creationId xmlns:a16="http://schemas.microsoft.com/office/drawing/2014/main" id="{5E1597AB-478B-47F0-AF62-889F64FFB0B4}"/>
              </a:ext>
            </a:extLst>
          </p:cNvPr>
          <p:cNvSpPr/>
          <p:nvPr/>
        </p:nvSpPr>
        <p:spPr>
          <a:xfrm>
            <a:off x="1570341" y="4471499"/>
            <a:ext cx="1350758" cy="324000"/>
          </a:xfrm>
          <a:prstGeom prst="rect">
            <a:avLst/>
          </a:prstGeom>
          <a:solidFill>
            <a:sysClr val="window" lastClr="FFFFFF"/>
          </a:solidFill>
          <a:ln>
            <a:solidFill>
              <a:schemeClr val="bg2"/>
            </a:solidFill>
          </a:ln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rPr>
              <a:t>Planning &amp; Release Cycle</a:t>
            </a:r>
          </a:p>
        </p:txBody>
      </p:sp>
      <p:pic>
        <p:nvPicPr>
          <p:cNvPr id="1065" name="Grafik 19">
            <a:extLst>
              <a:ext uri="{FF2B5EF4-FFF2-40B4-BE49-F238E27FC236}">
                <a16:creationId xmlns:a16="http://schemas.microsoft.com/office/drawing/2014/main" id="{73DF99D9-4320-F605-62FB-09754A764BB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579" r="-6380"/>
          <a:stretch/>
        </p:blipFill>
        <p:spPr>
          <a:xfrm>
            <a:off x="1574516" y="4487364"/>
            <a:ext cx="683529" cy="160134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25" name="TextBox 34">
            <a:extLst>
              <a:ext uri="{FF2B5EF4-FFF2-40B4-BE49-F238E27FC236}">
                <a16:creationId xmlns:a16="http://schemas.microsoft.com/office/drawing/2014/main" id="{80DE1026-79E7-C23E-CBB0-03D65129951C}"/>
              </a:ext>
            </a:extLst>
          </p:cNvPr>
          <p:cNvSpPr txBox="1"/>
          <p:nvPr/>
        </p:nvSpPr>
        <p:spPr>
          <a:xfrm>
            <a:off x="1574516" y="3517379"/>
            <a:ext cx="1483230" cy="30008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txBody>
          <a:bodyPr wrap="square" anchor="ctr">
            <a:spAutoFit/>
          </a:bodyPr>
          <a:lstStyle>
            <a:defPPr>
              <a:defRPr lang="de-DE"/>
            </a:defPPr>
            <a:lvl1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 sz="800" b="1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Overall Release Mgmt</a:t>
            </a:r>
            <a:r>
              <a:rPr lang="en-US" sz="600" b="0" dirty="0"/>
              <a:t>.</a:t>
            </a:r>
            <a:br>
              <a:rPr lang="en-US" sz="700" b="0" dirty="0"/>
            </a:br>
            <a:r>
              <a:rPr lang="en-US" sz="700" b="0" dirty="0"/>
              <a:t>Facilitated by C-X MDs</a:t>
            </a:r>
            <a:endParaRPr lang="en-US" b="0" dirty="0"/>
          </a:p>
        </p:txBody>
      </p:sp>
      <p:pic>
        <p:nvPicPr>
          <p:cNvPr id="27" name="Grafik 26" descr="Männliches Profil mit einfarbiger Füllung">
            <a:extLst>
              <a:ext uri="{FF2B5EF4-FFF2-40B4-BE49-F238E27FC236}">
                <a16:creationId xmlns:a16="http://schemas.microsoft.com/office/drawing/2014/main" id="{DD8C81BA-D7A2-8DD4-5D11-3D5CA40DE446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877280" y="3637461"/>
            <a:ext cx="180000" cy="180000"/>
          </a:xfrm>
          <a:prstGeom prst="rect">
            <a:avLst/>
          </a:prstGeom>
        </p:spPr>
      </p:pic>
      <p:pic>
        <p:nvPicPr>
          <p:cNvPr id="28" name="Grafik 27" descr="Männliches Profil mit einfarbiger Füllung">
            <a:extLst>
              <a:ext uri="{FF2B5EF4-FFF2-40B4-BE49-F238E27FC236}">
                <a16:creationId xmlns:a16="http://schemas.microsoft.com/office/drawing/2014/main" id="{8AC93FB9-4BE1-BCCA-71A7-A4752084CA0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21250" y="3738171"/>
            <a:ext cx="180000" cy="180000"/>
          </a:xfrm>
          <a:prstGeom prst="rect">
            <a:avLst/>
          </a:prstGeom>
        </p:spPr>
      </p:pic>
      <p:pic>
        <p:nvPicPr>
          <p:cNvPr id="29" name="Grafik 28" descr="Männliches Profil mit einfarbiger Füllung">
            <a:extLst>
              <a:ext uri="{FF2B5EF4-FFF2-40B4-BE49-F238E27FC236}">
                <a16:creationId xmlns:a16="http://schemas.microsoft.com/office/drawing/2014/main" id="{C7F7BDE0-05BA-9E02-15B2-D0136052353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523019" y="4219849"/>
            <a:ext cx="180000" cy="180000"/>
          </a:xfrm>
          <a:prstGeom prst="rect">
            <a:avLst/>
          </a:prstGeom>
        </p:spPr>
      </p:pic>
      <p:pic>
        <p:nvPicPr>
          <p:cNvPr id="31" name="Grafik 30" descr="Gruppe mit einfarbiger Füllung">
            <a:extLst>
              <a:ext uri="{FF2B5EF4-FFF2-40B4-BE49-F238E27FC236}">
                <a16:creationId xmlns:a16="http://schemas.microsoft.com/office/drawing/2014/main" id="{877A57AA-D045-3971-634E-57866FE6C6F3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45916" y="5067715"/>
            <a:ext cx="216000" cy="216000"/>
          </a:xfrm>
          <a:prstGeom prst="rect">
            <a:avLst/>
          </a:prstGeom>
        </p:spPr>
      </p:pic>
      <p:pic>
        <p:nvPicPr>
          <p:cNvPr id="2" name="Grafik 1" descr="Gruppe mit einfarbiger Füllung">
            <a:extLst>
              <a:ext uri="{FF2B5EF4-FFF2-40B4-BE49-F238E27FC236}">
                <a16:creationId xmlns:a16="http://schemas.microsoft.com/office/drawing/2014/main" id="{F74B7162-C8C5-0E52-B02B-A9EAE16CB674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365124" y="4449385"/>
            <a:ext cx="216000" cy="216000"/>
          </a:xfrm>
          <a:prstGeom prst="rect">
            <a:avLst/>
          </a:prstGeom>
        </p:spPr>
      </p:pic>
      <p:pic>
        <p:nvPicPr>
          <p:cNvPr id="8" name="Grafik 7" descr="Gruppe mit einfarbiger Füllung">
            <a:extLst>
              <a:ext uri="{FF2B5EF4-FFF2-40B4-BE49-F238E27FC236}">
                <a16:creationId xmlns:a16="http://schemas.microsoft.com/office/drawing/2014/main" id="{907CF94F-EB06-32A3-2302-9973EF07E538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367839" y="5301355"/>
            <a:ext cx="216000" cy="216000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FE8DD63D-40A1-E485-A72C-570037E97B9D}"/>
              </a:ext>
            </a:extLst>
          </p:cNvPr>
          <p:cNvSpPr/>
          <p:nvPr/>
        </p:nvSpPr>
        <p:spPr bwMode="gray">
          <a:xfrm>
            <a:off x="260266" y="6189332"/>
            <a:ext cx="2461913" cy="5586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216000" tIns="180000" rIns="216000" bIns="180000" rtlCol="0" anchor="t"/>
          <a:lstStyle/>
          <a:p>
            <a: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endParaRPr lang="de-DE" sz="14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47F00A9C-01AB-FA84-5AB8-D27625C920F8}"/>
              </a:ext>
            </a:extLst>
          </p:cNvPr>
          <p:cNvGrpSpPr/>
          <p:nvPr/>
        </p:nvGrpSpPr>
        <p:grpSpPr>
          <a:xfrm>
            <a:off x="1491222" y="6063503"/>
            <a:ext cx="2986231" cy="558678"/>
            <a:chOff x="1736813" y="6084353"/>
            <a:chExt cx="2986231" cy="558678"/>
          </a:xfrm>
        </p:grpSpPr>
        <p:sp>
          <p:nvSpPr>
            <p:cNvPr id="1156" name="Flowchart: Decision 150">
              <a:extLst>
                <a:ext uri="{FF2B5EF4-FFF2-40B4-BE49-F238E27FC236}">
                  <a16:creationId xmlns:a16="http://schemas.microsoft.com/office/drawing/2014/main" id="{E1390D78-9B72-F501-6BF0-B1340ED13AA8}"/>
                </a:ext>
              </a:extLst>
            </p:cNvPr>
            <p:cNvSpPr/>
            <p:nvPr/>
          </p:nvSpPr>
          <p:spPr>
            <a:xfrm>
              <a:off x="1736813" y="6084353"/>
              <a:ext cx="245803" cy="255634"/>
            </a:xfrm>
            <a:prstGeom prst="flowChartDecision">
              <a:avLst/>
            </a:prstGeom>
            <a:solidFill>
              <a:srgbClr val="FFC000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endParaRPr lang="en-US" sz="1905">
                <a:solidFill>
                  <a:srgbClr val="000000">
                    <a:lumMod val="65000"/>
                    <a:lumOff val="35000"/>
                  </a:srgbClr>
                </a:solidFill>
                <a:latin typeface="Manrope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57" name="Flowchart: Decision 151">
              <a:extLst>
                <a:ext uri="{FF2B5EF4-FFF2-40B4-BE49-F238E27FC236}">
                  <a16:creationId xmlns:a16="http://schemas.microsoft.com/office/drawing/2014/main" id="{46682DC1-E8A7-6566-ED43-F91611085DE9}"/>
                </a:ext>
              </a:extLst>
            </p:cNvPr>
            <p:cNvSpPr/>
            <p:nvPr/>
          </p:nvSpPr>
          <p:spPr>
            <a:xfrm>
              <a:off x="1736813" y="6387397"/>
              <a:ext cx="245803" cy="255634"/>
            </a:xfrm>
            <a:prstGeom prst="flowChartDecision">
              <a:avLst/>
            </a:prstGeom>
            <a:solidFill>
              <a:srgbClr val="FFCA21">
                <a:lumMod val="50000"/>
              </a:srgbClr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5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anrope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58" name="TextBox 152">
              <a:extLst>
                <a:ext uri="{FF2B5EF4-FFF2-40B4-BE49-F238E27FC236}">
                  <a16:creationId xmlns:a16="http://schemas.microsoft.com/office/drawing/2014/main" id="{1A500A13-9520-DBD1-8500-FE53D3B47C67}"/>
                </a:ext>
              </a:extLst>
            </p:cNvPr>
            <p:cNvSpPr txBox="1"/>
            <p:nvPr/>
          </p:nvSpPr>
          <p:spPr>
            <a:xfrm>
              <a:off x="2028532" y="6089060"/>
              <a:ext cx="99899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800" dirty="0">
                  <a:solidFill>
                    <a:srgbClr val="000000"/>
                  </a:solidFill>
                  <a:latin typeface="Manrope" pitchFamily="2" charset="0"/>
                </a:rPr>
                <a:t>Major Ecosystem</a:t>
              </a:r>
            </a:p>
          </p:txBody>
        </p:sp>
        <p:sp>
          <p:nvSpPr>
            <p:cNvPr id="1159" name="TextBox 153">
              <a:extLst>
                <a:ext uri="{FF2B5EF4-FFF2-40B4-BE49-F238E27FC236}">
                  <a16:creationId xmlns:a16="http://schemas.microsoft.com/office/drawing/2014/main" id="{38925B26-DCD2-1D17-CDE4-3E95D9CDB83E}"/>
                </a:ext>
              </a:extLst>
            </p:cNvPr>
            <p:cNvSpPr txBox="1"/>
            <p:nvPr/>
          </p:nvSpPr>
          <p:spPr>
            <a:xfrm>
              <a:off x="2028532" y="6392104"/>
              <a:ext cx="100059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800" dirty="0">
                  <a:solidFill>
                    <a:srgbClr val="000000"/>
                  </a:solidFill>
                  <a:latin typeface="Manrope" pitchFamily="2" charset="0"/>
                </a:rPr>
                <a:t>Minor Ecosystem</a:t>
              </a:r>
            </a:p>
          </p:txBody>
        </p:sp>
        <p:sp>
          <p:nvSpPr>
            <p:cNvPr id="1160" name="Flowchart: Decision 165">
              <a:extLst>
                <a:ext uri="{FF2B5EF4-FFF2-40B4-BE49-F238E27FC236}">
                  <a16:creationId xmlns:a16="http://schemas.microsoft.com/office/drawing/2014/main" id="{47183C24-AEAC-1541-2B1C-9C25B985CB3E}"/>
                </a:ext>
              </a:extLst>
            </p:cNvPr>
            <p:cNvSpPr/>
            <p:nvPr/>
          </p:nvSpPr>
          <p:spPr>
            <a:xfrm>
              <a:off x="3524068" y="6084353"/>
              <a:ext cx="245803" cy="255634"/>
            </a:xfrm>
            <a:prstGeom prst="flowChartDecision">
              <a:avLst/>
            </a:prstGeom>
            <a:solidFill>
              <a:srgbClr val="C00000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endPara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Manrope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61" name="TextBox 166">
              <a:extLst>
                <a:ext uri="{FF2B5EF4-FFF2-40B4-BE49-F238E27FC236}">
                  <a16:creationId xmlns:a16="http://schemas.microsoft.com/office/drawing/2014/main" id="{0011E09B-800B-8237-5061-58CEE5B1DD3B}"/>
                </a:ext>
              </a:extLst>
            </p:cNvPr>
            <p:cNvSpPr txBox="1"/>
            <p:nvPr/>
          </p:nvSpPr>
          <p:spPr>
            <a:xfrm>
              <a:off x="3773745" y="6089060"/>
              <a:ext cx="94769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800" dirty="0">
                  <a:solidFill>
                    <a:srgbClr val="000000"/>
                  </a:solidFill>
                  <a:latin typeface="Manrope" pitchFamily="2" charset="0"/>
                </a:rPr>
                <a:t>Major Tractus-X</a:t>
              </a:r>
            </a:p>
          </p:txBody>
        </p:sp>
        <p:sp>
          <p:nvSpPr>
            <p:cNvPr id="1162" name="Flowchart: Decision 35">
              <a:extLst>
                <a:ext uri="{FF2B5EF4-FFF2-40B4-BE49-F238E27FC236}">
                  <a16:creationId xmlns:a16="http://schemas.microsoft.com/office/drawing/2014/main" id="{D1371556-D186-C651-1586-58C6076BE4C4}"/>
                </a:ext>
              </a:extLst>
            </p:cNvPr>
            <p:cNvSpPr/>
            <p:nvPr/>
          </p:nvSpPr>
          <p:spPr>
            <a:xfrm>
              <a:off x="3524068" y="6387397"/>
              <a:ext cx="245803" cy="255634"/>
            </a:xfrm>
            <a:prstGeom prst="flowChartDecision">
              <a:avLst/>
            </a:prstGeom>
            <a:solidFill>
              <a:srgbClr val="FF0000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endParaRPr lang="en-US" sz="800">
                <a:solidFill>
                  <a:srgbClr val="000000">
                    <a:lumMod val="65000"/>
                    <a:lumOff val="35000"/>
                  </a:srgbClr>
                </a:solidFill>
                <a:latin typeface="Manrope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63" name="TextBox 36">
              <a:extLst>
                <a:ext uri="{FF2B5EF4-FFF2-40B4-BE49-F238E27FC236}">
                  <a16:creationId xmlns:a16="http://schemas.microsoft.com/office/drawing/2014/main" id="{4A41B4DE-F84A-655B-FFE4-4D7202D61EC6}"/>
                </a:ext>
              </a:extLst>
            </p:cNvPr>
            <p:cNvSpPr txBox="1"/>
            <p:nvPr/>
          </p:nvSpPr>
          <p:spPr>
            <a:xfrm>
              <a:off x="3773745" y="6392104"/>
              <a:ext cx="94929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800">
                  <a:solidFill>
                    <a:srgbClr val="000000"/>
                  </a:solidFill>
                  <a:latin typeface="Manrope" pitchFamily="2" charset="0"/>
                </a:rPr>
                <a:t>Minor Tractus-X</a:t>
              </a:r>
            </a:p>
          </p:txBody>
        </p:sp>
      </p:grpSp>
      <p:sp>
        <p:nvSpPr>
          <p:cNvPr id="13" name="TextBox 34">
            <a:extLst>
              <a:ext uri="{FF2B5EF4-FFF2-40B4-BE49-F238E27FC236}">
                <a16:creationId xmlns:a16="http://schemas.microsoft.com/office/drawing/2014/main" id="{246E462B-7E6E-63B8-4D64-08B4E803DF7F}"/>
              </a:ext>
            </a:extLst>
          </p:cNvPr>
          <p:cNvSpPr txBox="1"/>
          <p:nvPr/>
        </p:nvSpPr>
        <p:spPr>
          <a:xfrm>
            <a:off x="8833726" y="6452825"/>
            <a:ext cx="2866209" cy="20313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Version names are 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just an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Manrope" pitchFamily="2" charset="0"/>
                <a:cs typeface="Arial" panose="020B0604020202020204" pitchFamily="34" charset="0"/>
              </a:rPr>
              <a:t>example (Io, Mars, ..)</a:t>
            </a:r>
          </a:p>
        </p:txBody>
      </p:sp>
    </p:spTree>
    <p:extLst>
      <p:ext uri="{BB962C8B-B14F-4D97-AF65-F5344CB8AC3E}">
        <p14:creationId xmlns:p14="http://schemas.microsoft.com/office/powerpoint/2010/main" val="36431579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68D8AD0-5341-DC51-6980-6E7D472167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7" y="728748"/>
            <a:ext cx="10883145" cy="432000"/>
          </a:xfrm>
        </p:spPr>
        <p:txBody>
          <a:bodyPr/>
          <a:lstStyle/>
          <a:p>
            <a:r>
              <a:rPr lang="en-US"/>
              <a:t>Life Cycle Management – Impact of Breaking*-Chang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5BCE40-2ADF-47F8-2A2D-8CC93CA0005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DF2D9-0E9C-44C1-9F88-571B4F8E5F65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6.202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448D5D-428D-8A32-BD73-DEB65384CF6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tel der Präsent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9EEB1E-AC44-F698-AE7D-43AB66D8AD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FAF3F9-DB4A-4795-B69B-3AD29566E077}" type="slidenum">
              <a:rPr kumimoji="0" lang="de-DE" sz="1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BDA0DB7-9F76-54ED-45B9-A7CF831FE3B6}"/>
              </a:ext>
            </a:extLst>
          </p:cNvPr>
          <p:cNvCxnSpPr>
            <a:cxnSpLocks/>
          </p:cNvCxnSpPr>
          <p:nvPr/>
        </p:nvCxnSpPr>
        <p:spPr bwMode="gray">
          <a:xfrm>
            <a:off x="5039591" y="2038737"/>
            <a:ext cx="0" cy="390072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4879425-E54E-E1D9-C711-929E4D57FD90}"/>
              </a:ext>
            </a:extLst>
          </p:cNvPr>
          <p:cNvSpPr txBox="1"/>
          <p:nvPr/>
        </p:nvSpPr>
        <p:spPr bwMode="gray">
          <a:xfrm>
            <a:off x="2171707" y="2038737"/>
            <a:ext cx="1974271" cy="3262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FFA600"/>
              </a:buClr>
              <a:buSzTx/>
              <a:buFont typeface="Wingdings 2" panose="05020102010507070707" pitchFamily="18" charset="2"/>
              <a:buChar char="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ra-Company-Chang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4D4C86-C4D4-6E72-4B54-7A9D0BC8CF5B}"/>
              </a:ext>
            </a:extLst>
          </p:cNvPr>
          <p:cNvSpPr txBox="1"/>
          <p:nvPr/>
        </p:nvSpPr>
        <p:spPr bwMode="gray">
          <a:xfrm>
            <a:off x="5800512" y="2042874"/>
            <a:ext cx="1974271" cy="3262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FFA600"/>
              </a:buClr>
              <a:buSzTx/>
              <a:buFont typeface="Wingdings 2" panose="05020102010507070707" pitchFamily="18" charset="2"/>
              <a:buChar char="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r-Company-Chang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3EDF301-74E6-3EC6-417C-8315D8DF256C}"/>
              </a:ext>
            </a:extLst>
          </p:cNvPr>
          <p:cNvCxnSpPr>
            <a:cxnSpLocks/>
          </p:cNvCxnSpPr>
          <p:nvPr/>
        </p:nvCxnSpPr>
        <p:spPr bwMode="gray">
          <a:xfrm>
            <a:off x="8600210" y="2038737"/>
            <a:ext cx="0" cy="390072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AB6D8DB-E72F-9481-0498-4D9D5E044FFC}"/>
              </a:ext>
            </a:extLst>
          </p:cNvPr>
          <p:cNvSpPr txBox="1"/>
          <p:nvPr/>
        </p:nvSpPr>
        <p:spPr bwMode="gray">
          <a:xfrm>
            <a:off x="9429316" y="2042873"/>
            <a:ext cx="1974271" cy="3262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FFA600"/>
              </a:buClr>
              <a:buSzTx/>
              <a:buFont typeface="Wingdings 2" panose="05020102010507070707" pitchFamily="18" charset="2"/>
              <a:buChar char="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twork-Chang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0E2486E-9FF6-0449-58BF-E839B24118BE}"/>
              </a:ext>
            </a:extLst>
          </p:cNvPr>
          <p:cNvCxnSpPr>
            <a:cxnSpLocks/>
          </p:cNvCxnSpPr>
          <p:nvPr/>
        </p:nvCxnSpPr>
        <p:spPr bwMode="gray">
          <a:xfrm>
            <a:off x="1499558" y="2038737"/>
            <a:ext cx="0" cy="390240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9F4DD1C-9A36-85E1-4589-8F2526EF67AD}"/>
              </a:ext>
            </a:extLst>
          </p:cNvPr>
          <p:cNvCxnSpPr>
            <a:cxnSpLocks/>
          </p:cNvCxnSpPr>
          <p:nvPr/>
        </p:nvCxnSpPr>
        <p:spPr bwMode="gray">
          <a:xfrm>
            <a:off x="1490224" y="2621299"/>
            <a:ext cx="1007485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EB12102B-6193-121B-D42B-05713D22F6BB}"/>
              </a:ext>
            </a:extLst>
          </p:cNvPr>
          <p:cNvGrpSpPr/>
          <p:nvPr/>
        </p:nvGrpSpPr>
        <p:grpSpPr>
          <a:xfrm>
            <a:off x="2501543" y="3331167"/>
            <a:ext cx="1536064" cy="1531564"/>
            <a:chOff x="2501543" y="2766384"/>
            <a:chExt cx="1536064" cy="1531564"/>
          </a:xfrm>
        </p:grpSpPr>
        <p:sp>
          <p:nvSpPr>
            <p:cNvPr id="33" name="Ellipse 3">
              <a:extLst>
                <a:ext uri="{FF2B5EF4-FFF2-40B4-BE49-F238E27FC236}">
                  <a16:creationId xmlns:a16="http://schemas.microsoft.com/office/drawing/2014/main" id="{3D0C09DE-7186-F750-507F-BE7AFE2522B9}"/>
                </a:ext>
              </a:extLst>
            </p:cNvPr>
            <p:cNvSpPr/>
            <p:nvPr/>
          </p:nvSpPr>
          <p:spPr>
            <a:xfrm>
              <a:off x="2501543" y="2766384"/>
              <a:ext cx="1536064" cy="1531564"/>
            </a:xfrm>
            <a:prstGeom prst="ellipse">
              <a:avLst/>
            </a:prstGeom>
            <a:noFill/>
            <a:ln w="25400" cap="sq" cmpd="sng" algn="ctr">
              <a:solidFill>
                <a:srgbClr val="FFA6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Ellipse 7">
              <a:extLst>
                <a:ext uri="{FF2B5EF4-FFF2-40B4-BE49-F238E27FC236}">
                  <a16:creationId xmlns:a16="http://schemas.microsoft.com/office/drawing/2014/main" id="{D3EC5037-1AAB-C95F-A6B4-6AB50AEB3923}"/>
                </a:ext>
              </a:extLst>
            </p:cNvPr>
            <p:cNvSpPr/>
            <p:nvPr/>
          </p:nvSpPr>
          <p:spPr>
            <a:xfrm>
              <a:off x="3283686" y="3219678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Ellipse 11">
              <a:extLst>
                <a:ext uri="{FF2B5EF4-FFF2-40B4-BE49-F238E27FC236}">
                  <a16:creationId xmlns:a16="http://schemas.microsoft.com/office/drawing/2014/main" id="{40626D68-7F75-904F-2AFD-227DDB379C97}"/>
                </a:ext>
              </a:extLst>
            </p:cNvPr>
            <p:cNvSpPr/>
            <p:nvPr/>
          </p:nvSpPr>
          <p:spPr>
            <a:xfrm>
              <a:off x="3768188" y="3525321"/>
              <a:ext cx="141667" cy="135228"/>
            </a:xfrm>
            <a:prstGeom prst="ellipse">
              <a:avLst/>
            </a:prstGeom>
            <a:solidFill>
              <a:srgbClr val="B3CB2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Ellipse 12">
              <a:extLst>
                <a:ext uri="{FF2B5EF4-FFF2-40B4-BE49-F238E27FC236}">
                  <a16:creationId xmlns:a16="http://schemas.microsoft.com/office/drawing/2014/main" id="{03AC9748-09D2-B108-A6DE-2FB2D9AB6EB9}"/>
                </a:ext>
              </a:extLst>
            </p:cNvPr>
            <p:cNvSpPr/>
            <p:nvPr/>
          </p:nvSpPr>
          <p:spPr>
            <a:xfrm>
              <a:off x="2841725" y="2925678"/>
              <a:ext cx="141667" cy="135228"/>
            </a:xfrm>
            <a:prstGeom prst="ellipse">
              <a:avLst/>
            </a:prstGeom>
            <a:solidFill>
              <a:srgbClr val="B3CB2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Ellipse 22">
              <a:extLst>
                <a:ext uri="{FF2B5EF4-FFF2-40B4-BE49-F238E27FC236}">
                  <a16:creationId xmlns:a16="http://schemas.microsoft.com/office/drawing/2014/main" id="{B79BD4DD-7975-2DDF-B84E-066BBBF2240C}"/>
                </a:ext>
              </a:extLst>
            </p:cNvPr>
            <p:cNvSpPr/>
            <p:nvPr/>
          </p:nvSpPr>
          <p:spPr>
            <a:xfrm>
              <a:off x="3283685" y="3430963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Ellipse 24">
              <a:extLst>
                <a:ext uri="{FF2B5EF4-FFF2-40B4-BE49-F238E27FC236}">
                  <a16:creationId xmlns:a16="http://schemas.microsoft.com/office/drawing/2014/main" id="{DE052A2C-9FEA-C6A5-6CC0-C5F220DD302A}"/>
                </a:ext>
              </a:extLst>
            </p:cNvPr>
            <p:cNvSpPr/>
            <p:nvPr/>
          </p:nvSpPr>
          <p:spPr>
            <a:xfrm>
              <a:off x="3283684" y="3639316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Ellipse 28">
              <a:extLst>
                <a:ext uri="{FF2B5EF4-FFF2-40B4-BE49-F238E27FC236}">
                  <a16:creationId xmlns:a16="http://schemas.microsoft.com/office/drawing/2014/main" id="{9F6BC96E-D365-F7D7-AA04-3B23A79877AC}"/>
                </a:ext>
              </a:extLst>
            </p:cNvPr>
            <p:cNvSpPr/>
            <p:nvPr/>
          </p:nvSpPr>
          <p:spPr>
            <a:xfrm>
              <a:off x="3070128" y="3288914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Ellipse 31">
              <a:extLst>
                <a:ext uri="{FF2B5EF4-FFF2-40B4-BE49-F238E27FC236}">
                  <a16:creationId xmlns:a16="http://schemas.microsoft.com/office/drawing/2014/main" id="{803222DF-7ACD-AEE4-87E3-2AE1D236DEAE}"/>
                </a:ext>
              </a:extLst>
            </p:cNvPr>
            <p:cNvSpPr/>
            <p:nvPr/>
          </p:nvSpPr>
          <p:spPr>
            <a:xfrm>
              <a:off x="3070129" y="3496574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Ellipse 32">
              <a:extLst>
                <a:ext uri="{FF2B5EF4-FFF2-40B4-BE49-F238E27FC236}">
                  <a16:creationId xmlns:a16="http://schemas.microsoft.com/office/drawing/2014/main" id="{F71B71B0-69E8-9993-34C1-C31CCB26DEE0}"/>
                </a:ext>
              </a:extLst>
            </p:cNvPr>
            <p:cNvSpPr/>
            <p:nvPr/>
          </p:nvSpPr>
          <p:spPr>
            <a:xfrm>
              <a:off x="3070129" y="3706930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42" name="Gerader Verbinder 34">
              <a:extLst>
                <a:ext uri="{FF2B5EF4-FFF2-40B4-BE49-F238E27FC236}">
                  <a16:creationId xmlns:a16="http://schemas.microsoft.com/office/drawing/2014/main" id="{93B09384-AA14-535B-7867-9FFC6B286CBA}"/>
                </a:ext>
              </a:extLst>
            </p:cNvPr>
            <p:cNvCxnSpPr>
              <a:cxnSpLocks/>
              <a:stCxn id="35" idx="2"/>
              <a:endCxn id="37" idx="6"/>
            </p:cNvCxnSpPr>
            <p:nvPr/>
          </p:nvCxnSpPr>
          <p:spPr>
            <a:xfrm flipH="1" flipV="1">
              <a:off x="3425352" y="3498577"/>
              <a:ext cx="342836" cy="9435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43" name="Gerader Verbinder 45">
              <a:extLst>
                <a:ext uri="{FF2B5EF4-FFF2-40B4-BE49-F238E27FC236}">
                  <a16:creationId xmlns:a16="http://schemas.microsoft.com/office/drawing/2014/main" id="{123E36AC-D2D9-971A-97F2-9D83299CF842}"/>
                </a:ext>
              </a:extLst>
            </p:cNvPr>
            <p:cNvCxnSpPr>
              <a:cxnSpLocks/>
              <a:stCxn id="34" idx="1"/>
              <a:endCxn id="36" idx="4"/>
            </p:cNvCxnSpPr>
            <p:nvPr/>
          </p:nvCxnSpPr>
          <p:spPr>
            <a:xfrm flipH="1" flipV="1">
              <a:off x="2912559" y="3060906"/>
              <a:ext cx="391874" cy="178576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sp>
          <p:nvSpPr>
            <p:cNvPr id="44" name="Ellipse 61">
              <a:extLst>
                <a:ext uri="{FF2B5EF4-FFF2-40B4-BE49-F238E27FC236}">
                  <a16:creationId xmlns:a16="http://schemas.microsoft.com/office/drawing/2014/main" id="{E8A0297A-9D04-8E6E-934C-77124CB3C934}"/>
                </a:ext>
              </a:extLst>
            </p:cNvPr>
            <p:cNvSpPr/>
            <p:nvPr/>
          </p:nvSpPr>
          <p:spPr>
            <a:xfrm>
              <a:off x="3475015" y="3967395"/>
              <a:ext cx="141667" cy="135228"/>
            </a:xfrm>
            <a:prstGeom prst="ellipse">
              <a:avLst/>
            </a:prstGeom>
            <a:solidFill>
              <a:srgbClr val="B3CB2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45" name="Gerader Verbinder 62">
              <a:extLst>
                <a:ext uri="{FF2B5EF4-FFF2-40B4-BE49-F238E27FC236}">
                  <a16:creationId xmlns:a16="http://schemas.microsoft.com/office/drawing/2014/main" id="{1840A65B-5227-297F-9BE9-A95F18195DCF}"/>
                </a:ext>
              </a:extLst>
            </p:cNvPr>
            <p:cNvCxnSpPr>
              <a:cxnSpLocks/>
              <a:stCxn id="44" idx="1"/>
              <a:endCxn id="41" idx="5"/>
            </p:cNvCxnSpPr>
            <p:nvPr/>
          </p:nvCxnSpPr>
          <p:spPr>
            <a:xfrm flipH="1" flipV="1">
              <a:off x="3191049" y="3822354"/>
              <a:ext cx="304713" cy="164845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46" name="Gerader Verbinder 83">
              <a:extLst>
                <a:ext uri="{FF2B5EF4-FFF2-40B4-BE49-F238E27FC236}">
                  <a16:creationId xmlns:a16="http://schemas.microsoft.com/office/drawing/2014/main" id="{F0E054E4-6DB1-9068-10A6-2216E985A383}"/>
                </a:ext>
              </a:extLst>
            </p:cNvPr>
            <p:cNvCxnSpPr>
              <a:cxnSpLocks/>
              <a:stCxn id="44" idx="7"/>
              <a:endCxn id="35" idx="3"/>
            </p:cNvCxnSpPr>
            <p:nvPr/>
          </p:nvCxnSpPr>
          <p:spPr>
            <a:xfrm flipV="1">
              <a:off x="3595935" y="3640745"/>
              <a:ext cx="193000" cy="346454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47" name="Gerader Verbinder 34">
              <a:extLst>
                <a:ext uri="{FF2B5EF4-FFF2-40B4-BE49-F238E27FC236}">
                  <a16:creationId xmlns:a16="http://schemas.microsoft.com/office/drawing/2014/main" id="{459119C1-66EA-9141-7FE3-8AFDE113B1CD}"/>
                </a:ext>
              </a:extLst>
            </p:cNvPr>
            <p:cNvCxnSpPr>
              <a:cxnSpLocks/>
              <a:stCxn id="35" idx="2"/>
              <a:endCxn id="38" idx="7"/>
            </p:cNvCxnSpPr>
            <p:nvPr/>
          </p:nvCxnSpPr>
          <p:spPr>
            <a:xfrm flipH="1">
              <a:off x="3404604" y="3592935"/>
              <a:ext cx="363584" cy="66185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48" name="Gerader Verbinder 45">
              <a:extLst>
                <a:ext uri="{FF2B5EF4-FFF2-40B4-BE49-F238E27FC236}">
                  <a16:creationId xmlns:a16="http://schemas.microsoft.com/office/drawing/2014/main" id="{AABD1427-ECA4-7A5B-4467-8973747AB9A2}"/>
                </a:ext>
              </a:extLst>
            </p:cNvPr>
            <p:cNvCxnSpPr>
              <a:cxnSpLocks/>
              <a:stCxn id="39" idx="2"/>
              <a:endCxn id="36" idx="4"/>
            </p:cNvCxnSpPr>
            <p:nvPr/>
          </p:nvCxnSpPr>
          <p:spPr>
            <a:xfrm flipH="1" flipV="1">
              <a:off x="2912559" y="3060906"/>
              <a:ext cx="157569" cy="295622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49" name="Gerader Verbinder 45">
              <a:extLst>
                <a:ext uri="{FF2B5EF4-FFF2-40B4-BE49-F238E27FC236}">
                  <a16:creationId xmlns:a16="http://schemas.microsoft.com/office/drawing/2014/main" id="{3B7E4AFB-AFD2-DA78-B1A8-C3FFAD35DFE2}"/>
                </a:ext>
              </a:extLst>
            </p:cNvPr>
            <p:cNvCxnSpPr>
              <a:cxnSpLocks/>
              <a:stCxn id="40" idx="2"/>
              <a:endCxn id="36" idx="4"/>
            </p:cNvCxnSpPr>
            <p:nvPr/>
          </p:nvCxnSpPr>
          <p:spPr>
            <a:xfrm flipH="1" flipV="1">
              <a:off x="2912559" y="3060906"/>
              <a:ext cx="157570" cy="503282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50" name="Gerader Verbinder 45">
              <a:extLst>
                <a:ext uri="{FF2B5EF4-FFF2-40B4-BE49-F238E27FC236}">
                  <a16:creationId xmlns:a16="http://schemas.microsoft.com/office/drawing/2014/main" id="{0C4B3C07-2BFC-BC1A-BDA5-02516B015538}"/>
                </a:ext>
              </a:extLst>
            </p:cNvPr>
            <p:cNvCxnSpPr>
              <a:cxnSpLocks/>
              <a:stCxn id="41" idx="2"/>
              <a:endCxn id="36" idx="4"/>
            </p:cNvCxnSpPr>
            <p:nvPr/>
          </p:nvCxnSpPr>
          <p:spPr>
            <a:xfrm flipH="1" flipV="1">
              <a:off x="2912559" y="3060906"/>
              <a:ext cx="157570" cy="71363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70" name="Connector: Curved 69">
              <a:extLst>
                <a:ext uri="{FF2B5EF4-FFF2-40B4-BE49-F238E27FC236}">
                  <a16:creationId xmlns:a16="http://schemas.microsoft.com/office/drawing/2014/main" id="{1414335A-D2E1-6183-6CEA-36F00B7D0FF3}"/>
                </a:ext>
              </a:extLst>
            </p:cNvPr>
            <p:cNvCxnSpPr>
              <a:stCxn id="36" idx="6"/>
              <a:endCxn id="36" idx="0"/>
            </p:cNvCxnSpPr>
            <p:nvPr/>
          </p:nvCxnSpPr>
          <p:spPr bwMode="gray">
            <a:xfrm flipH="1" flipV="1">
              <a:off x="2912559" y="2925678"/>
              <a:ext cx="70833" cy="67614"/>
            </a:xfrm>
            <a:prstGeom prst="curvedConnector4">
              <a:avLst>
                <a:gd name="adj1" fmla="val -121921"/>
                <a:gd name="adj2" fmla="val 205185"/>
              </a:avLst>
            </a:prstGeom>
            <a:noFill/>
            <a:ln w="381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11" name="Gerader Verbinder 45">
              <a:extLst>
                <a:ext uri="{FF2B5EF4-FFF2-40B4-BE49-F238E27FC236}">
                  <a16:creationId xmlns:a16="http://schemas.microsoft.com/office/drawing/2014/main" id="{BC10B56A-FDEF-9CCC-52C7-97E06FB762AB}"/>
                </a:ext>
              </a:extLst>
            </p:cNvPr>
            <p:cNvCxnSpPr>
              <a:cxnSpLocks/>
              <a:stCxn id="40" idx="0"/>
              <a:endCxn id="39" idx="4"/>
            </p:cNvCxnSpPr>
            <p:nvPr/>
          </p:nvCxnSpPr>
          <p:spPr>
            <a:xfrm flipH="1" flipV="1">
              <a:off x="3140962" y="3424142"/>
              <a:ext cx="1" cy="72432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14" name="Gerader Verbinder 45">
              <a:extLst>
                <a:ext uri="{FF2B5EF4-FFF2-40B4-BE49-F238E27FC236}">
                  <a16:creationId xmlns:a16="http://schemas.microsoft.com/office/drawing/2014/main" id="{E87901E1-386F-A698-F299-A7C63D4C4C3B}"/>
                </a:ext>
              </a:extLst>
            </p:cNvPr>
            <p:cNvCxnSpPr>
              <a:cxnSpLocks/>
              <a:stCxn id="37" idx="4"/>
              <a:endCxn id="38" idx="0"/>
            </p:cNvCxnSpPr>
            <p:nvPr/>
          </p:nvCxnSpPr>
          <p:spPr>
            <a:xfrm flipH="1">
              <a:off x="3354518" y="3566191"/>
              <a:ext cx="1" cy="73125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17" name="Gerader Verbinder 45">
              <a:extLst>
                <a:ext uri="{FF2B5EF4-FFF2-40B4-BE49-F238E27FC236}">
                  <a16:creationId xmlns:a16="http://schemas.microsoft.com/office/drawing/2014/main" id="{0A21C615-1308-2E10-3F51-6A11EFF601A1}"/>
                </a:ext>
              </a:extLst>
            </p:cNvPr>
            <p:cNvCxnSpPr>
              <a:cxnSpLocks/>
              <a:stCxn id="40" idx="6"/>
              <a:endCxn id="37" idx="2"/>
            </p:cNvCxnSpPr>
            <p:nvPr/>
          </p:nvCxnSpPr>
          <p:spPr>
            <a:xfrm flipV="1">
              <a:off x="3211796" y="3498577"/>
              <a:ext cx="71889" cy="65611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20" name="Gerader Verbinder 45">
              <a:extLst>
                <a:ext uri="{FF2B5EF4-FFF2-40B4-BE49-F238E27FC236}">
                  <a16:creationId xmlns:a16="http://schemas.microsoft.com/office/drawing/2014/main" id="{FA370BC2-1900-7C8D-9776-92CED84E8FE8}"/>
                </a:ext>
              </a:extLst>
            </p:cNvPr>
            <p:cNvCxnSpPr>
              <a:cxnSpLocks/>
              <a:stCxn id="39" idx="7"/>
              <a:endCxn id="34" idx="2"/>
            </p:cNvCxnSpPr>
            <p:nvPr/>
          </p:nvCxnSpPr>
          <p:spPr>
            <a:xfrm flipV="1">
              <a:off x="3191048" y="3287292"/>
              <a:ext cx="92638" cy="21426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23" name="Gerader Verbinder 45">
              <a:extLst>
                <a:ext uri="{FF2B5EF4-FFF2-40B4-BE49-F238E27FC236}">
                  <a16:creationId xmlns:a16="http://schemas.microsoft.com/office/drawing/2014/main" id="{DED4C985-43CF-8AB9-CBB6-CB15935C610D}"/>
                </a:ext>
              </a:extLst>
            </p:cNvPr>
            <p:cNvCxnSpPr>
              <a:cxnSpLocks/>
              <a:stCxn id="40" idx="4"/>
              <a:endCxn id="41" idx="0"/>
            </p:cNvCxnSpPr>
            <p:nvPr/>
          </p:nvCxnSpPr>
          <p:spPr>
            <a:xfrm>
              <a:off x="3140963" y="3631802"/>
              <a:ext cx="0" cy="7512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26" name="Gerader Verbinder 45">
              <a:extLst>
                <a:ext uri="{FF2B5EF4-FFF2-40B4-BE49-F238E27FC236}">
                  <a16:creationId xmlns:a16="http://schemas.microsoft.com/office/drawing/2014/main" id="{8F11A281-5282-948C-9D09-A71AB830E781}"/>
                </a:ext>
              </a:extLst>
            </p:cNvPr>
            <p:cNvCxnSpPr>
              <a:cxnSpLocks/>
              <a:stCxn id="40" idx="5"/>
              <a:endCxn id="38" idx="2"/>
            </p:cNvCxnSpPr>
            <p:nvPr/>
          </p:nvCxnSpPr>
          <p:spPr>
            <a:xfrm>
              <a:off x="3191049" y="3611998"/>
              <a:ext cx="92635" cy="94932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ED99A1E3-5589-16BD-E077-E38492030DF4}"/>
              </a:ext>
            </a:extLst>
          </p:cNvPr>
          <p:cNvGrpSpPr/>
          <p:nvPr/>
        </p:nvGrpSpPr>
        <p:grpSpPr>
          <a:xfrm>
            <a:off x="6004381" y="3363189"/>
            <a:ext cx="1536064" cy="1531564"/>
            <a:chOff x="2501543" y="2766384"/>
            <a:chExt cx="1536064" cy="1531564"/>
          </a:xfrm>
        </p:grpSpPr>
        <p:sp>
          <p:nvSpPr>
            <p:cNvPr id="131" name="Ellipse 3">
              <a:extLst>
                <a:ext uri="{FF2B5EF4-FFF2-40B4-BE49-F238E27FC236}">
                  <a16:creationId xmlns:a16="http://schemas.microsoft.com/office/drawing/2014/main" id="{0A001420-DE56-7FC4-E333-3ACC6516BF16}"/>
                </a:ext>
              </a:extLst>
            </p:cNvPr>
            <p:cNvSpPr/>
            <p:nvPr/>
          </p:nvSpPr>
          <p:spPr>
            <a:xfrm>
              <a:off x="2501543" y="2766384"/>
              <a:ext cx="1536064" cy="1531564"/>
            </a:xfrm>
            <a:prstGeom prst="ellipse">
              <a:avLst/>
            </a:prstGeom>
            <a:noFill/>
            <a:ln w="25400" cap="sq" cmpd="sng" algn="ctr">
              <a:solidFill>
                <a:srgbClr val="FFA6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2" name="Ellipse 7">
              <a:extLst>
                <a:ext uri="{FF2B5EF4-FFF2-40B4-BE49-F238E27FC236}">
                  <a16:creationId xmlns:a16="http://schemas.microsoft.com/office/drawing/2014/main" id="{D95C191A-E119-D471-2B16-5E3CA395C380}"/>
                </a:ext>
              </a:extLst>
            </p:cNvPr>
            <p:cNvSpPr/>
            <p:nvPr/>
          </p:nvSpPr>
          <p:spPr>
            <a:xfrm>
              <a:off x="3283686" y="3219678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" name="Ellipse 11">
              <a:extLst>
                <a:ext uri="{FF2B5EF4-FFF2-40B4-BE49-F238E27FC236}">
                  <a16:creationId xmlns:a16="http://schemas.microsoft.com/office/drawing/2014/main" id="{CA29A082-A673-BF24-2080-B7C373A724C6}"/>
                </a:ext>
              </a:extLst>
            </p:cNvPr>
            <p:cNvSpPr/>
            <p:nvPr/>
          </p:nvSpPr>
          <p:spPr>
            <a:xfrm>
              <a:off x="3768188" y="3525321"/>
              <a:ext cx="141667" cy="135228"/>
            </a:xfrm>
            <a:prstGeom prst="ellipse">
              <a:avLst/>
            </a:prstGeom>
            <a:solidFill>
              <a:srgbClr val="B3CB2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" name="Ellipse 12">
              <a:extLst>
                <a:ext uri="{FF2B5EF4-FFF2-40B4-BE49-F238E27FC236}">
                  <a16:creationId xmlns:a16="http://schemas.microsoft.com/office/drawing/2014/main" id="{8B51054F-ED74-2A0C-CABD-5ADA4FF89A07}"/>
                </a:ext>
              </a:extLst>
            </p:cNvPr>
            <p:cNvSpPr/>
            <p:nvPr/>
          </p:nvSpPr>
          <p:spPr>
            <a:xfrm>
              <a:off x="2841725" y="2925678"/>
              <a:ext cx="141667" cy="135228"/>
            </a:xfrm>
            <a:prstGeom prst="ellipse">
              <a:avLst/>
            </a:prstGeom>
            <a:solidFill>
              <a:srgbClr val="B3CB2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" name="Ellipse 22">
              <a:extLst>
                <a:ext uri="{FF2B5EF4-FFF2-40B4-BE49-F238E27FC236}">
                  <a16:creationId xmlns:a16="http://schemas.microsoft.com/office/drawing/2014/main" id="{3BB3F17B-5E5B-1297-C79B-3127BCF99E1E}"/>
                </a:ext>
              </a:extLst>
            </p:cNvPr>
            <p:cNvSpPr/>
            <p:nvPr/>
          </p:nvSpPr>
          <p:spPr>
            <a:xfrm>
              <a:off x="3283685" y="3430963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6" name="Ellipse 24">
              <a:extLst>
                <a:ext uri="{FF2B5EF4-FFF2-40B4-BE49-F238E27FC236}">
                  <a16:creationId xmlns:a16="http://schemas.microsoft.com/office/drawing/2014/main" id="{840ECF77-B019-1A0E-64BA-44B561C7710E}"/>
                </a:ext>
              </a:extLst>
            </p:cNvPr>
            <p:cNvSpPr/>
            <p:nvPr/>
          </p:nvSpPr>
          <p:spPr>
            <a:xfrm>
              <a:off x="3283684" y="3639316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7" name="Ellipse 28">
              <a:extLst>
                <a:ext uri="{FF2B5EF4-FFF2-40B4-BE49-F238E27FC236}">
                  <a16:creationId xmlns:a16="http://schemas.microsoft.com/office/drawing/2014/main" id="{97B70821-4EB8-01F8-3BC3-13824FCA7772}"/>
                </a:ext>
              </a:extLst>
            </p:cNvPr>
            <p:cNvSpPr/>
            <p:nvPr/>
          </p:nvSpPr>
          <p:spPr>
            <a:xfrm>
              <a:off x="3070128" y="3288914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8" name="Ellipse 31">
              <a:extLst>
                <a:ext uri="{FF2B5EF4-FFF2-40B4-BE49-F238E27FC236}">
                  <a16:creationId xmlns:a16="http://schemas.microsoft.com/office/drawing/2014/main" id="{0A8599E6-038C-8BA3-40CB-AD389FAE8FB5}"/>
                </a:ext>
              </a:extLst>
            </p:cNvPr>
            <p:cNvSpPr/>
            <p:nvPr/>
          </p:nvSpPr>
          <p:spPr>
            <a:xfrm>
              <a:off x="3070129" y="3496574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" name="Ellipse 32">
              <a:extLst>
                <a:ext uri="{FF2B5EF4-FFF2-40B4-BE49-F238E27FC236}">
                  <a16:creationId xmlns:a16="http://schemas.microsoft.com/office/drawing/2014/main" id="{A68BA2E2-9D16-0D0C-27DF-F74D710C749E}"/>
                </a:ext>
              </a:extLst>
            </p:cNvPr>
            <p:cNvSpPr/>
            <p:nvPr/>
          </p:nvSpPr>
          <p:spPr>
            <a:xfrm>
              <a:off x="3070129" y="3706930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40" name="Gerader Verbinder 34">
              <a:extLst>
                <a:ext uri="{FF2B5EF4-FFF2-40B4-BE49-F238E27FC236}">
                  <a16:creationId xmlns:a16="http://schemas.microsoft.com/office/drawing/2014/main" id="{400C0C13-3E29-B00C-5EF7-563F8001FE99}"/>
                </a:ext>
              </a:extLst>
            </p:cNvPr>
            <p:cNvCxnSpPr>
              <a:cxnSpLocks/>
              <a:stCxn id="133" idx="2"/>
              <a:endCxn id="135" idx="6"/>
            </p:cNvCxnSpPr>
            <p:nvPr/>
          </p:nvCxnSpPr>
          <p:spPr>
            <a:xfrm flipH="1" flipV="1">
              <a:off x="3425352" y="3498577"/>
              <a:ext cx="342836" cy="9435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41" name="Gerader Verbinder 45">
              <a:extLst>
                <a:ext uri="{FF2B5EF4-FFF2-40B4-BE49-F238E27FC236}">
                  <a16:creationId xmlns:a16="http://schemas.microsoft.com/office/drawing/2014/main" id="{FCF37F59-0468-FA42-E9C1-A673D8DE799C}"/>
                </a:ext>
              </a:extLst>
            </p:cNvPr>
            <p:cNvCxnSpPr>
              <a:cxnSpLocks/>
              <a:stCxn id="132" idx="1"/>
              <a:endCxn id="134" idx="4"/>
            </p:cNvCxnSpPr>
            <p:nvPr/>
          </p:nvCxnSpPr>
          <p:spPr>
            <a:xfrm flipH="1" flipV="1">
              <a:off x="2912559" y="3060906"/>
              <a:ext cx="391874" cy="178576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sp>
          <p:nvSpPr>
            <p:cNvPr id="142" name="Ellipse 61">
              <a:extLst>
                <a:ext uri="{FF2B5EF4-FFF2-40B4-BE49-F238E27FC236}">
                  <a16:creationId xmlns:a16="http://schemas.microsoft.com/office/drawing/2014/main" id="{5B33370A-61A6-3C87-360B-EFA9F090FCD1}"/>
                </a:ext>
              </a:extLst>
            </p:cNvPr>
            <p:cNvSpPr/>
            <p:nvPr/>
          </p:nvSpPr>
          <p:spPr>
            <a:xfrm>
              <a:off x="3475015" y="3967395"/>
              <a:ext cx="141667" cy="135228"/>
            </a:xfrm>
            <a:prstGeom prst="ellipse">
              <a:avLst/>
            </a:prstGeom>
            <a:solidFill>
              <a:srgbClr val="B3CB2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43" name="Gerader Verbinder 62">
              <a:extLst>
                <a:ext uri="{FF2B5EF4-FFF2-40B4-BE49-F238E27FC236}">
                  <a16:creationId xmlns:a16="http://schemas.microsoft.com/office/drawing/2014/main" id="{FC45F955-B139-43C9-5D82-7795E31CA2AB}"/>
                </a:ext>
              </a:extLst>
            </p:cNvPr>
            <p:cNvCxnSpPr>
              <a:cxnSpLocks/>
              <a:stCxn id="142" idx="1"/>
              <a:endCxn id="139" idx="5"/>
            </p:cNvCxnSpPr>
            <p:nvPr/>
          </p:nvCxnSpPr>
          <p:spPr>
            <a:xfrm flipH="1" flipV="1">
              <a:off x="3191049" y="3822354"/>
              <a:ext cx="304713" cy="164845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44" name="Gerader Verbinder 83">
              <a:extLst>
                <a:ext uri="{FF2B5EF4-FFF2-40B4-BE49-F238E27FC236}">
                  <a16:creationId xmlns:a16="http://schemas.microsoft.com/office/drawing/2014/main" id="{B7228F65-1623-0739-345C-E2207E867D32}"/>
                </a:ext>
              </a:extLst>
            </p:cNvPr>
            <p:cNvCxnSpPr>
              <a:cxnSpLocks/>
              <a:stCxn id="142" idx="7"/>
              <a:endCxn id="133" idx="3"/>
            </p:cNvCxnSpPr>
            <p:nvPr/>
          </p:nvCxnSpPr>
          <p:spPr>
            <a:xfrm flipV="1">
              <a:off x="3595935" y="3640745"/>
              <a:ext cx="193000" cy="346454"/>
            </a:xfrm>
            <a:prstGeom prst="lin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45" name="Gerader Verbinder 34">
              <a:extLst>
                <a:ext uri="{FF2B5EF4-FFF2-40B4-BE49-F238E27FC236}">
                  <a16:creationId xmlns:a16="http://schemas.microsoft.com/office/drawing/2014/main" id="{CFE51BF7-A436-D2FB-BAC6-E0E6F024388A}"/>
                </a:ext>
              </a:extLst>
            </p:cNvPr>
            <p:cNvCxnSpPr>
              <a:cxnSpLocks/>
              <a:stCxn id="133" idx="2"/>
              <a:endCxn id="136" idx="7"/>
            </p:cNvCxnSpPr>
            <p:nvPr/>
          </p:nvCxnSpPr>
          <p:spPr>
            <a:xfrm flipH="1">
              <a:off x="3404604" y="3592935"/>
              <a:ext cx="363584" cy="66185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46" name="Gerader Verbinder 45">
              <a:extLst>
                <a:ext uri="{FF2B5EF4-FFF2-40B4-BE49-F238E27FC236}">
                  <a16:creationId xmlns:a16="http://schemas.microsoft.com/office/drawing/2014/main" id="{51F03EDA-26FC-4ADB-CE10-C9153A850ED3}"/>
                </a:ext>
              </a:extLst>
            </p:cNvPr>
            <p:cNvCxnSpPr>
              <a:cxnSpLocks/>
              <a:stCxn id="137" idx="2"/>
              <a:endCxn id="134" idx="4"/>
            </p:cNvCxnSpPr>
            <p:nvPr/>
          </p:nvCxnSpPr>
          <p:spPr>
            <a:xfrm flipH="1" flipV="1">
              <a:off x="2912559" y="3060906"/>
              <a:ext cx="157569" cy="295622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47" name="Gerader Verbinder 45">
              <a:extLst>
                <a:ext uri="{FF2B5EF4-FFF2-40B4-BE49-F238E27FC236}">
                  <a16:creationId xmlns:a16="http://schemas.microsoft.com/office/drawing/2014/main" id="{754E49A2-5FD4-36C8-05DE-87BBF3B48773}"/>
                </a:ext>
              </a:extLst>
            </p:cNvPr>
            <p:cNvCxnSpPr>
              <a:cxnSpLocks/>
              <a:stCxn id="138" idx="2"/>
              <a:endCxn id="134" idx="4"/>
            </p:cNvCxnSpPr>
            <p:nvPr/>
          </p:nvCxnSpPr>
          <p:spPr>
            <a:xfrm flipH="1" flipV="1">
              <a:off x="2912559" y="3060906"/>
              <a:ext cx="157570" cy="503282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48" name="Gerader Verbinder 45">
              <a:extLst>
                <a:ext uri="{FF2B5EF4-FFF2-40B4-BE49-F238E27FC236}">
                  <a16:creationId xmlns:a16="http://schemas.microsoft.com/office/drawing/2014/main" id="{90AB78A8-4CEF-09A0-2A94-FEB79F764521}"/>
                </a:ext>
              </a:extLst>
            </p:cNvPr>
            <p:cNvCxnSpPr>
              <a:cxnSpLocks/>
              <a:stCxn id="139" idx="2"/>
              <a:endCxn id="134" idx="4"/>
            </p:cNvCxnSpPr>
            <p:nvPr/>
          </p:nvCxnSpPr>
          <p:spPr>
            <a:xfrm flipH="1" flipV="1">
              <a:off x="2912559" y="3060906"/>
              <a:ext cx="157570" cy="71363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49" name="Connector: Curved 148">
              <a:extLst>
                <a:ext uri="{FF2B5EF4-FFF2-40B4-BE49-F238E27FC236}">
                  <a16:creationId xmlns:a16="http://schemas.microsoft.com/office/drawing/2014/main" id="{F4B9AE0B-4B84-1A1F-1D59-A097CA39F66D}"/>
                </a:ext>
              </a:extLst>
            </p:cNvPr>
            <p:cNvCxnSpPr>
              <a:stCxn id="134" idx="6"/>
              <a:endCxn id="134" idx="0"/>
            </p:cNvCxnSpPr>
            <p:nvPr/>
          </p:nvCxnSpPr>
          <p:spPr bwMode="gray">
            <a:xfrm flipH="1" flipV="1">
              <a:off x="2912559" y="2925678"/>
              <a:ext cx="70833" cy="67614"/>
            </a:xfrm>
            <a:prstGeom prst="curvedConnector4">
              <a:avLst>
                <a:gd name="adj1" fmla="val -121921"/>
                <a:gd name="adj2" fmla="val 205185"/>
              </a:avLst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50" name="Gerader Verbinder 45">
              <a:extLst>
                <a:ext uri="{FF2B5EF4-FFF2-40B4-BE49-F238E27FC236}">
                  <a16:creationId xmlns:a16="http://schemas.microsoft.com/office/drawing/2014/main" id="{B6676734-808E-C79E-2B21-1EDBFDB8A314}"/>
                </a:ext>
              </a:extLst>
            </p:cNvPr>
            <p:cNvCxnSpPr>
              <a:cxnSpLocks/>
              <a:stCxn id="138" idx="0"/>
              <a:endCxn id="137" idx="4"/>
            </p:cNvCxnSpPr>
            <p:nvPr/>
          </p:nvCxnSpPr>
          <p:spPr>
            <a:xfrm flipH="1" flipV="1">
              <a:off x="3140962" y="3424142"/>
              <a:ext cx="1" cy="72432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51" name="Gerader Verbinder 45">
              <a:extLst>
                <a:ext uri="{FF2B5EF4-FFF2-40B4-BE49-F238E27FC236}">
                  <a16:creationId xmlns:a16="http://schemas.microsoft.com/office/drawing/2014/main" id="{E8F705F0-1455-8FA1-8A48-193859D301E0}"/>
                </a:ext>
              </a:extLst>
            </p:cNvPr>
            <p:cNvCxnSpPr>
              <a:cxnSpLocks/>
              <a:stCxn id="135" idx="4"/>
              <a:endCxn id="136" idx="0"/>
            </p:cNvCxnSpPr>
            <p:nvPr/>
          </p:nvCxnSpPr>
          <p:spPr>
            <a:xfrm flipH="1">
              <a:off x="3354518" y="3566191"/>
              <a:ext cx="1" cy="73125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52" name="Gerader Verbinder 45">
              <a:extLst>
                <a:ext uri="{FF2B5EF4-FFF2-40B4-BE49-F238E27FC236}">
                  <a16:creationId xmlns:a16="http://schemas.microsoft.com/office/drawing/2014/main" id="{F43A656B-4727-15B3-173D-1FFFDDC06789}"/>
                </a:ext>
              </a:extLst>
            </p:cNvPr>
            <p:cNvCxnSpPr>
              <a:cxnSpLocks/>
              <a:stCxn id="138" idx="6"/>
              <a:endCxn id="135" idx="2"/>
            </p:cNvCxnSpPr>
            <p:nvPr/>
          </p:nvCxnSpPr>
          <p:spPr>
            <a:xfrm flipV="1">
              <a:off x="3211796" y="3498577"/>
              <a:ext cx="71889" cy="65611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53" name="Gerader Verbinder 45">
              <a:extLst>
                <a:ext uri="{FF2B5EF4-FFF2-40B4-BE49-F238E27FC236}">
                  <a16:creationId xmlns:a16="http://schemas.microsoft.com/office/drawing/2014/main" id="{7183CEAA-252F-430A-A056-A39326D2B0A6}"/>
                </a:ext>
              </a:extLst>
            </p:cNvPr>
            <p:cNvCxnSpPr>
              <a:cxnSpLocks/>
              <a:stCxn id="137" idx="7"/>
              <a:endCxn id="132" idx="2"/>
            </p:cNvCxnSpPr>
            <p:nvPr/>
          </p:nvCxnSpPr>
          <p:spPr>
            <a:xfrm flipV="1">
              <a:off x="3191048" y="3287292"/>
              <a:ext cx="92638" cy="21426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54" name="Gerader Verbinder 45">
              <a:extLst>
                <a:ext uri="{FF2B5EF4-FFF2-40B4-BE49-F238E27FC236}">
                  <a16:creationId xmlns:a16="http://schemas.microsoft.com/office/drawing/2014/main" id="{926F4E34-744C-664A-4869-D73968E3D8F8}"/>
                </a:ext>
              </a:extLst>
            </p:cNvPr>
            <p:cNvCxnSpPr>
              <a:cxnSpLocks/>
              <a:stCxn id="138" idx="4"/>
              <a:endCxn id="139" idx="0"/>
            </p:cNvCxnSpPr>
            <p:nvPr/>
          </p:nvCxnSpPr>
          <p:spPr>
            <a:xfrm>
              <a:off x="3140963" y="3631802"/>
              <a:ext cx="0" cy="7512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55" name="Gerader Verbinder 45">
              <a:extLst>
                <a:ext uri="{FF2B5EF4-FFF2-40B4-BE49-F238E27FC236}">
                  <a16:creationId xmlns:a16="http://schemas.microsoft.com/office/drawing/2014/main" id="{59BD7E4A-FEAA-9694-4F22-3F81387A471B}"/>
                </a:ext>
              </a:extLst>
            </p:cNvPr>
            <p:cNvCxnSpPr>
              <a:cxnSpLocks/>
              <a:stCxn id="138" idx="5"/>
              <a:endCxn id="136" idx="2"/>
            </p:cNvCxnSpPr>
            <p:nvPr/>
          </p:nvCxnSpPr>
          <p:spPr>
            <a:xfrm>
              <a:off x="3191049" y="3611998"/>
              <a:ext cx="92635" cy="94932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3DC4175A-2BEC-02D4-7060-FFBCB92C0807}"/>
              </a:ext>
            </a:extLst>
          </p:cNvPr>
          <p:cNvGrpSpPr/>
          <p:nvPr/>
        </p:nvGrpSpPr>
        <p:grpSpPr>
          <a:xfrm>
            <a:off x="9502220" y="3336365"/>
            <a:ext cx="1536064" cy="1531564"/>
            <a:chOff x="2501543" y="2766384"/>
            <a:chExt cx="1536064" cy="1531564"/>
          </a:xfrm>
        </p:grpSpPr>
        <p:sp>
          <p:nvSpPr>
            <p:cNvPr id="157" name="Ellipse 3">
              <a:extLst>
                <a:ext uri="{FF2B5EF4-FFF2-40B4-BE49-F238E27FC236}">
                  <a16:creationId xmlns:a16="http://schemas.microsoft.com/office/drawing/2014/main" id="{38B4FD54-CDE6-14C6-B9EA-4EAC77819D74}"/>
                </a:ext>
              </a:extLst>
            </p:cNvPr>
            <p:cNvSpPr/>
            <p:nvPr/>
          </p:nvSpPr>
          <p:spPr>
            <a:xfrm>
              <a:off x="2501543" y="2766384"/>
              <a:ext cx="1536064" cy="1531564"/>
            </a:xfrm>
            <a:prstGeom prst="ellipse">
              <a:avLst/>
            </a:prstGeom>
            <a:noFill/>
            <a:ln w="25400" cap="sq" cmpd="sng" algn="ctr">
              <a:solidFill>
                <a:srgbClr val="FFA6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" name="Ellipse 7">
              <a:extLst>
                <a:ext uri="{FF2B5EF4-FFF2-40B4-BE49-F238E27FC236}">
                  <a16:creationId xmlns:a16="http://schemas.microsoft.com/office/drawing/2014/main" id="{718D407C-D3E0-5E91-5348-AEA448A356CA}"/>
                </a:ext>
              </a:extLst>
            </p:cNvPr>
            <p:cNvSpPr/>
            <p:nvPr/>
          </p:nvSpPr>
          <p:spPr>
            <a:xfrm>
              <a:off x="3283686" y="3219678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" name="Ellipse 11">
              <a:extLst>
                <a:ext uri="{FF2B5EF4-FFF2-40B4-BE49-F238E27FC236}">
                  <a16:creationId xmlns:a16="http://schemas.microsoft.com/office/drawing/2014/main" id="{BADB5F78-B705-FBD8-EB1B-E0BCD3251D84}"/>
                </a:ext>
              </a:extLst>
            </p:cNvPr>
            <p:cNvSpPr/>
            <p:nvPr/>
          </p:nvSpPr>
          <p:spPr>
            <a:xfrm>
              <a:off x="3768188" y="3525321"/>
              <a:ext cx="141667" cy="135228"/>
            </a:xfrm>
            <a:prstGeom prst="ellipse">
              <a:avLst/>
            </a:prstGeom>
            <a:solidFill>
              <a:srgbClr val="B3CB2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0" name="Ellipse 12">
              <a:extLst>
                <a:ext uri="{FF2B5EF4-FFF2-40B4-BE49-F238E27FC236}">
                  <a16:creationId xmlns:a16="http://schemas.microsoft.com/office/drawing/2014/main" id="{2773BB6A-079C-5CED-B5BB-1CB2A0834442}"/>
                </a:ext>
              </a:extLst>
            </p:cNvPr>
            <p:cNvSpPr/>
            <p:nvPr/>
          </p:nvSpPr>
          <p:spPr>
            <a:xfrm>
              <a:off x="2841725" y="2925678"/>
              <a:ext cx="141667" cy="135228"/>
            </a:xfrm>
            <a:prstGeom prst="ellipse">
              <a:avLst/>
            </a:prstGeom>
            <a:solidFill>
              <a:srgbClr val="B3CB2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1" name="Ellipse 22">
              <a:extLst>
                <a:ext uri="{FF2B5EF4-FFF2-40B4-BE49-F238E27FC236}">
                  <a16:creationId xmlns:a16="http://schemas.microsoft.com/office/drawing/2014/main" id="{76DFEE0F-6272-2878-BB69-C034C5CFEE3A}"/>
                </a:ext>
              </a:extLst>
            </p:cNvPr>
            <p:cNvSpPr/>
            <p:nvPr/>
          </p:nvSpPr>
          <p:spPr>
            <a:xfrm>
              <a:off x="3283685" y="3430963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2" name="Ellipse 24">
              <a:extLst>
                <a:ext uri="{FF2B5EF4-FFF2-40B4-BE49-F238E27FC236}">
                  <a16:creationId xmlns:a16="http://schemas.microsoft.com/office/drawing/2014/main" id="{E741B9E4-F4CE-A789-F9DB-900E92F5FEFC}"/>
                </a:ext>
              </a:extLst>
            </p:cNvPr>
            <p:cNvSpPr/>
            <p:nvPr/>
          </p:nvSpPr>
          <p:spPr>
            <a:xfrm>
              <a:off x="3283684" y="3639316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" name="Ellipse 28">
              <a:extLst>
                <a:ext uri="{FF2B5EF4-FFF2-40B4-BE49-F238E27FC236}">
                  <a16:creationId xmlns:a16="http://schemas.microsoft.com/office/drawing/2014/main" id="{83604925-FAED-363D-D7C5-68508D8CFA93}"/>
                </a:ext>
              </a:extLst>
            </p:cNvPr>
            <p:cNvSpPr/>
            <p:nvPr/>
          </p:nvSpPr>
          <p:spPr>
            <a:xfrm>
              <a:off x="3070128" y="3288914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4" name="Ellipse 31">
              <a:extLst>
                <a:ext uri="{FF2B5EF4-FFF2-40B4-BE49-F238E27FC236}">
                  <a16:creationId xmlns:a16="http://schemas.microsoft.com/office/drawing/2014/main" id="{99A83DBA-6C15-06AD-5099-1799E082984E}"/>
                </a:ext>
              </a:extLst>
            </p:cNvPr>
            <p:cNvSpPr/>
            <p:nvPr/>
          </p:nvSpPr>
          <p:spPr>
            <a:xfrm>
              <a:off x="3070129" y="3496574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" name="Ellipse 32">
              <a:extLst>
                <a:ext uri="{FF2B5EF4-FFF2-40B4-BE49-F238E27FC236}">
                  <a16:creationId xmlns:a16="http://schemas.microsoft.com/office/drawing/2014/main" id="{DE15C522-F802-3652-4A8C-014448431707}"/>
                </a:ext>
              </a:extLst>
            </p:cNvPr>
            <p:cNvSpPr/>
            <p:nvPr/>
          </p:nvSpPr>
          <p:spPr>
            <a:xfrm>
              <a:off x="3070129" y="3706930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66" name="Gerader Verbinder 34">
              <a:extLst>
                <a:ext uri="{FF2B5EF4-FFF2-40B4-BE49-F238E27FC236}">
                  <a16:creationId xmlns:a16="http://schemas.microsoft.com/office/drawing/2014/main" id="{8FEF0811-9CB1-2FCB-235E-9552361F3893}"/>
                </a:ext>
              </a:extLst>
            </p:cNvPr>
            <p:cNvCxnSpPr>
              <a:cxnSpLocks/>
              <a:stCxn id="159" idx="2"/>
              <a:endCxn id="161" idx="6"/>
            </p:cNvCxnSpPr>
            <p:nvPr/>
          </p:nvCxnSpPr>
          <p:spPr>
            <a:xfrm flipH="1" flipV="1">
              <a:off x="3425352" y="3498577"/>
              <a:ext cx="342836" cy="94358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67" name="Gerader Verbinder 45">
              <a:extLst>
                <a:ext uri="{FF2B5EF4-FFF2-40B4-BE49-F238E27FC236}">
                  <a16:creationId xmlns:a16="http://schemas.microsoft.com/office/drawing/2014/main" id="{2296B84B-2BC6-C01B-83D0-6B94FE2A4C7E}"/>
                </a:ext>
              </a:extLst>
            </p:cNvPr>
            <p:cNvCxnSpPr>
              <a:cxnSpLocks/>
              <a:stCxn id="158" idx="1"/>
              <a:endCxn id="160" idx="4"/>
            </p:cNvCxnSpPr>
            <p:nvPr/>
          </p:nvCxnSpPr>
          <p:spPr>
            <a:xfrm flipH="1" flipV="1">
              <a:off x="2912559" y="3060906"/>
              <a:ext cx="391874" cy="178576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sp>
          <p:nvSpPr>
            <p:cNvPr id="168" name="Ellipse 61">
              <a:extLst>
                <a:ext uri="{FF2B5EF4-FFF2-40B4-BE49-F238E27FC236}">
                  <a16:creationId xmlns:a16="http://schemas.microsoft.com/office/drawing/2014/main" id="{F9662052-D9C6-9072-D470-B1A0DA7ED4B2}"/>
                </a:ext>
              </a:extLst>
            </p:cNvPr>
            <p:cNvSpPr/>
            <p:nvPr/>
          </p:nvSpPr>
          <p:spPr>
            <a:xfrm>
              <a:off x="3475015" y="3967395"/>
              <a:ext cx="141667" cy="135228"/>
            </a:xfrm>
            <a:prstGeom prst="ellipse">
              <a:avLst/>
            </a:prstGeom>
            <a:solidFill>
              <a:srgbClr val="B3CB2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69" name="Gerader Verbinder 62">
              <a:extLst>
                <a:ext uri="{FF2B5EF4-FFF2-40B4-BE49-F238E27FC236}">
                  <a16:creationId xmlns:a16="http://schemas.microsoft.com/office/drawing/2014/main" id="{7FECAF09-F09F-D4E0-BFCA-5B6830D6536E}"/>
                </a:ext>
              </a:extLst>
            </p:cNvPr>
            <p:cNvCxnSpPr>
              <a:cxnSpLocks/>
              <a:stCxn id="168" idx="1"/>
              <a:endCxn id="165" idx="5"/>
            </p:cNvCxnSpPr>
            <p:nvPr/>
          </p:nvCxnSpPr>
          <p:spPr>
            <a:xfrm flipH="1" flipV="1">
              <a:off x="3191049" y="3822354"/>
              <a:ext cx="304713" cy="164845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70" name="Gerader Verbinder 83">
              <a:extLst>
                <a:ext uri="{FF2B5EF4-FFF2-40B4-BE49-F238E27FC236}">
                  <a16:creationId xmlns:a16="http://schemas.microsoft.com/office/drawing/2014/main" id="{F6F8CD80-1499-A1A3-2B06-8606DD7A79C7}"/>
                </a:ext>
              </a:extLst>
            </p:cNvPr>
            <p:cNvCxnSpPr>
              <a:cxnSpLocks/>
              <a:stCxn id="168" idx="7"/>
              <a:endCxn id="159" idx="3"/>
            </p:cNvCxnSpPr>
            <p:nvPr/>
          </p:nvCxnSpPr>
          <p:spPr>
            <a:xfrm flipV="1">
              <a:off x="3595935" y="3640745"/>
              <a:ext cx="193000" cy="346454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71" name="Gerader Verbinder 34">
              <a:extLst>
                <a:ext uri="{FF2B5EF4-FFF2-40B4-BE49-F238E27FC236}">
                  <a16:creationId xmlns:a16="http://schemas.microsoft.com/office/drawing/2014/main" id="{0BE0D370-71EC-8094-ADB0-E0E2FB1AA3EB}"/>
                </a:ext>
              </a:extLst>
            </p:cNvPr>
            <p:cNvCxnSpPr>
              <a:cxnSpLocks/>
              <a:stCxn id="159" idx="2"/>
              <a:endCxn id="162" idx="7"/>
            </p:cNvCxnSpPr>
            <p:nvPr/>
          </p:nvCxnSpPr>
          <p:spPr>
            <a:xfrm flipH="1">
              <a:off x="3404604" y="3592935"/>
              <a:ext cx="363584" cy="66185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72" name="Gerader Verbinder 45">
              <a:extLst>
                <a:ext uri="{FF2B5EF4-FFF2-40B4-BE49-F238E27FC236}">
                  <a16:creationId xmlns:a16="http://schemas.microsoft.com/office/drawing/2014/main" id="{349A29C6-B633-F41D-E3BB-2906D0247B61}"/>
                </a:ext>
              </a:extLst>
            </p:cNvPr>
            <p:cNvCxnSpPr>
              <a:cxnSpLocks/>
              <a:stCxn id="163" idx="2"/>
              <a:endCxn id="160" idx="4"/>
            </p:cNvCxnSpPr>
            <p:nvPr/>
          </p:nvCxnSpPr>
          <p:spPr>
            <a:xfrm flipH="1" flipV="1">
              <a:off x="2912559" y="3060906"/>
              <a:ext cx="157569" cy="295622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73" name="Gerader Verbinder 45">
              <a:extLst>
                <a:ext uri="{FF2B5EF4-FFF2-40B4-BE49-F238E27FC236}">
                  <a16:creationId xmlns:a16="http://schemas.microsoft.com/office/drawing/2014/main" id="{D4487C73-4A1B-E6EC-E2DD-B9E309E2D914}"/>
                </a:ext>
              </a:extLst>
            </p:cNvPr>
            <p:cNvCxnSpPr>
              <a:cxnSpLocks/>
              <a:stCxn id="164" idx="2"/>
              <a:endCxn id="160" idx="4"/>
            </p:cNvCxnSpPr>
            <p:nvPr/>
          </p:nvCxnSpPr>
          <p:spPr>
            <a:xfrm flipH="1" flipV="1">
              <a:off x="2912559" y="3060906"/>
              <a:ext cx="157570" cy="503282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74" name="Gerader Verbinder 45">
              <a:extLst>
                <a:ext uri="{FF2B5EF4-FFF2-40B4-BE49-F238E27FC236}">
                  <a16:creationId xmlns:a16="http://schemas.microsoft.com/office/drawing/2014/main" id="{6010BAC7-7249-1CF7-3452-6953D419A17B}"/>
                </a:ext>
              </a:extLst>
            </p:cNvPr>
            <p:cNvCxnSpPr>
              <a:cxnSpLocks/>
              <a:stCxn id="165" idx="2"/>
              <a:endCxn id="160" idx="4"/>
            </p:cNvCxnSpPr>
            <p:nvPr/>
          </p:nvCxnSpPr>
          <p:spPr>
            <a:xfrm flipH="1" flipV="1">
              <a:off x="2912559" y="3060906"/>
              <a:ext cx="157570" cy="713638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75" name="Connector: Curved 174">
              <a:extLst>
                <a:ext uri="{FF2B5EF4-FFF2-40B4-BE49-F238E27FC236}">
                  <a16:creationId xmlns:a16="http://schemas.microsoft.com/office/drawing/2014/main" id="{BA18ADB7-50FC-4D2D-5C69-4396F782036C}"/>
                </a:ext>
              </a:extLst>
            </p:cNvPr>
            <p:cNvCxnSpPr>
              <a:stCxn id="160" idx="6"/>
              <a:endCxn id="160" idx="0"/>
            </p:cNvCxnSpPr>
            <p:nvPr/>
          </p:nvCxnSpPr>
          <p:spPr bwMode="gray">
            <a:xfrm flipH="1" flipV="1">
              <a:off x="2912559" y="2925678"/>
              <a:ext cx="70833" cy="67614"/>
            </a:xfrm>
            <a:prstGeom prst="curvedConnector4">
              <a:avLst>
                <a:gd name="adj1" fmla="val -121921"/>
                <a:gd name="adj2" fmla="val 205185"/>
              </a:avLst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76" name="Gerader Verbinder 45">
              <a:extLst>
                <a:ext uri="{FF2B5EF4-FFF2-40B4-BE49-F238E27FC236}">
                  <a16:creationId xmlns:a16="http://schemas.microsoft.com/office/drawing/2014/main" id="{2B97D00D-609F-1AF6-886A-027C6602DA32}"/>
                </a:ext>
              </a:extLst>
            </p:cNvPr>
            <p:cNvCxnSpPr>
              <a:cxnSpLocks/>
              <a:stCxn id="164" idx="0"/>
              <a:endCxn id="163" idx="4"/>
            </p:cNvCxnSpPr>
            <p:nvPr/>
          </p:nvCxnSpPr>
          <p:spPr>
            <a:xfrm flipH="1" flipV="1">
              <a:off x="3140962" y="3424142"/>
              <a:ext cx="1" cy="72432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77" name="Gerader Verbinder 45">
              <a:extLst>
                <a:ext uri="{FF2B5EF4-FFF2-40B4-BE49-F238E27FC236}">
                  <a16:creationId xmlns:a16="http://schemas.microsoft.com/office/drawing/2014/main" id="{C5CED7F5-097A-F87D-8DC1-570C15E16197}"/>
                </a:ext>
              </a:extLst>
            </p:cNvPr>
            <p:cNvCxnSpPr>
              <a:cxnSpLocks/>
              <a:stCxn id="161" idx="4"/>
              <a:endCxn id="162" idx="0"/>
            </p:cNvCxnSpPr>
            <p:nvPr/>
          </p:nvCxnSpPr>
          <p:spPr>
            <a:xfrm flipH="1">
              <a:off x="3354518" y="3566191"/>
              <a:ext cx="1" cy="73125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78" name="Gerader Verbinder 45">
              <a:extLst>
                <a:ext uri="{FF2B5EF4-FFF2-40B4-BE49-F238E27FC236}">
                  <a16:creationId xmlns:a16="http://schemas.microsoft.com/office/drawing/2014/main" id="{366185D7-7F88-E4E5-674C-5ED14F24CD75}"/>
                </a:ext>
              </a:extLst>
            </p:cNvPr>
            <p:cNvCxnSpPr>
              <a:cxnSpLocks/>
              <a:stCxn id="164" idx="6"/>
              <a:endCxn id="161" idx="2"/>
            </p:cNvCxnSpPr>
            <p:nvPr/>
          </p:nvCxnSpPr>
          <p:spPr>
            <a:xfrm flipV="1">
              <a:off x="3211796" y="3498577"/>
              <a:ext cx="71889" cy="65611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79" name="Gerader Verbinder 45">
              <a:extLst>
                <a:ext uri="{FF2B5EF4-FFF2-40B4-BE49-F238E27FC236}">
                  <a16:creationId xmlns:a16="http://schemas.microsoft.com/office/drawing/2014/main" id="{FB43EDA1-9A2D-549C-64D1-70444579C340}"/>
                </a:ext>
              </a:extLst>
            </p:cNvPr>
            <p:cNvCxnSpPr>
              <a:cxnSpLocks/>
              <a:stCxn id="163" idx="7"/>
              <a:endCxn id="158" idx="2"/>
            </p:cNvCxnSpPr>
            <p:nvPr/>
          </p:nvCxnSpPr>
          <p:spPr>
            <a:xfrm flipV="1">
              <a:off x="3191048" y="3287292"/>
              <a:ext cx="92638" cy="21426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80" name="Gerader Verbinder 45">
              <a:extLst>
                <a:ext uri="{FF2B5EF4-FFF2-40B4-BE49-F238E27FC236}">
                  <a16:creationId xmlns:a16="http://schemas.microsoft.com/office/drawing/2014/main" id="{B55B10AC-1648-5811-409A-BC6E7231AD57}"/>
                </a:ext>
              </a:extLst>
            </p:cNvPr>
            <p:cNvCxnSpPr>
              <a:cxnSpLocks/>
              <a:stCxn id="164" idx="4"/>
              <a:endCxn id="165" idx="0"/>
            </p:cNvCxnSpPr>
            <p:nvPr/>
          </p:nvCxnSpPr>
          <p:spPr>
            <a:xfrm>
              <a:off x="3140963" y="3631802"/>
              <a:ext cx="0" cy="75128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81" name="Gerader Verbinder 45">
              <a:extLst>
                <a:ext uri="{FF2B5EF4-FFF2-40B4-BE49-F238E27FC236}">
                  <a16:creationId xmlns:a16="http://schemas.microsoft.com/office/drawing/2014/main" id="{9BFA7CFA-72D3-2370-9E0C-3C032A2AF653}"/>
                </a:ext>
              </a:extLst>
            </p:cNvPr>
            <p:cNvCxnSpPr>
              <a:cxnSpLocks/>
              <a:stCxn id="164" idx="5"/>
              <a:endCxn id="162" idx="2"/>
            </p:cNvCxnSpPr>
            <p:nvPr/>
          </p:nvCxnSpPr>
          <p:spPr>
            <a:xfrm>
              <a:off x="3191049" y="3611998"/>
              <a:ext cx="92635" cy="94932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tailEnd type="none"/>
            </a:ln>
            <a:effectLst/>
          </p:spPr>
        </p:cxnSp>
      </p:grpSp>
      <p:grpSp>
        <p:nvGrpSpPr>
          <p:cNvPr id="182" name="Gruppieren 93">
            <a:extLst>
              <a:ext uri="{FF2B5EF4-FFF2-40B4-BE49-F238E27FC236}">
                <a16:creationId xmlns:a16="http://schemas.microsoft.com/office/drawing/2014/main" id="{112590C0-D1C4-F607-3056-AC350E3CBF8F}"/>
              </a:ext>
            </a:extLst>
          </p:cNvPr>
          <p:cNvGrpSpPr/>
          <p:nvPr/>
        </p:nvGrpSpPr>
        <p:grpSpPr>
          <a:xfrm>
            <a:off x="10070805" y="1221522"/>
            <a:ext cx="1967116" cy="705927"/>
            <a:chOff x="321971" y="5417978"/>
            <a:chExt cx="2045573" cy="705927"/>
          </a:xfrm>
        </p:grpSpPr>
        <p:sp>
          <p:nvSpPr>
            <p:cNvPr id="183" name="Rechteck 92">
              <a:extLst>
                <a:ext uri="{FF2B5EF4-FFF2-40B4-BE49-F238E27FC236}">
                  <a16:creationId xmlns:a16="http://schemas.microsoft.com/office/drawing/2014/main" id="{46D93097-5E8E-D0F6-1CF6-3A7D8930B758}"/>
                </a:ext>
              </a:extLst>
            </p:cNvPr>
            <p:cNvSpPr/>
            <p:nvPr/>
          </p:nvSpPr>
          <p:spPr>
            <a:xfrm>
              <a:off x="321971" y="5417978"/>
              <a:ext cx="2045573" cy="705927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4" name="Ellipse 15">
              <a:extLst>
                <a:ext uri="{FF2B5EF4-FFF2-40B4-BE49-F238E27FC236}">
                  <a16:creationId xmlns:a16="http://schemas.microsoft.com/office/drawing/2014/main" id="{E8300369-7067-E42E-2E7B-FE5F6CF7A775}"/>
                </a:ext>
              </a:extLst>
            </p:cNvPr>
            <p:cNvSpPr/>
            <p:nvPr/>
          </p:nvSpPr>
          <p:spPr>
            <a:xfrm>
              <a:off x="450737" y="5574160"/>
              <a:ext cx="141667" cy="135228"/>
            </a:xfrm>
            <a:prstGeom prst="ellipse">
              <a:avLst/>
            </a:prstGeom>
            <a:solidFill>
              <a:srgbClr val="FFA60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5" name="Ellipse 16">
              <a:extLst>
                <a:ext uri="{FF2B5EF4-FFF2-40B4-BE49-F238E27FC236}">
                  <a16:creationId xmlns:a16="http://schemas.microsoft.com/office/drawing/2014/main" id="{9656CE3F-0FF7-144E-A34E-6145ED58B1B0}"/>
                </a:ext>
              </a:extLst>
            </p:cNvPr>
            <p:cNvSpPr/>
            <p:nvPr/>
          </p:nvSpPr>
          <p:spPr>
            <a:xfrm>
              <a:off x="450738" y="5844082"/>
              <a:ext cx="141667" cy="135228"/>
            </a:xfrm>
            <a:prstGeom prst="ellipse">
              <a:avLst/>
            </a:prstGeom>
            <a:solidFill>
              <a:srgbClr val="B3CB2D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6" name="Textfeld 18">
              <a:extLst>
                <a:ext uri="{FF2B5EF4-FFF2-40B4-BE49-F238E27FC236}">
                  <a16:creationId xmlns:a16="http://schemas.microsoft.com/office/drawing/2014/main" id="{3B1EE178-649B-A441-E116-E16DFE279D96}"/>
                </a:ext>
              </a:extLst>
            </p:cNvPr>
            <p:cNvSpPr txBox="1"/>
            <p:nvPr/>
          </p:nvSpPr>
          <p:spPr>
            <a:xfrm>
              <a:off x="657747" y="5556991"/>
              <a:ext cx="1709797" cy="504295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CP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perating Company</a:t>
              </a:r>
            </a:p>
          </p:txBody>
        </p:sp>
      </p:grpSp>
      <p:sp>
        <p:nvSpPr>
          <p:cNvPr id="187" name="TextBox 186">
            <a:extLst>
              <a:ext uri="{FF2B5EF4-FFF2-40B4-BE49-F238E27FC236}">
                <a16:creationId xmlns:a16="http://schemas.microsoft.com/office/drawing/2014/main" id="{B7469C28-ECDB-D12D-AF55-B121B783CF35}"/>
              </a:ext>
            </a:extLst>
          </p:cNvPr>
          <p:cNvSpPr txBox="1"/>
          <p:nvPr/>
        </p:nvSpPr>
        <p:spPr bwMode="gray">
          <a:xfrm>
            <a:off x="5564473" y="6624607"/>
            <a:ext cx="6560469" cy="1969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FFA600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Breaking change def. according to </a:t>
            </a:r>
            <a:r>
              <a: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mVer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e.g.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MAJOR version when you make incompatible API changes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</p:txBody>
      </p:sp>
      <p:cxnSp>
        <p:nvCxnSpPr>
          <p:cNvPr id="18" name="Connector: Curved 17">
            <a:extLst>
              <a:ext uri="{FF2B5EF4-FFF2-40B4-BE49-F238E27FC236}">
                <a16:creationId xmlns:a16="http://schemas.microsoft.com/office/drawing/2014/main" id="{23C6E158-3641-AFAE-F0F7-CFB755F6CC5B}"/>
              </a:ext>
            </a:extLst>
          </p:cNvPr>
          <p:cNvCxnSpPr>
            <a:stCxn id="34" idx="0"/>
            <a:endCxn id="34" idx="6"/>
          </p:cNvCxnSpPr>
          <p:nvPr/>
        </p:nvCxnSpPr>
        <p:spPr bwMode="gray">
          <a:xfrm rot="16200000" flipH="1">
            <a:off x="3356129" y="3782852"/>
            <a:ext cx="67614" cy="70833"/>
          </a:xfrm>
          <a:prstGeom prst="curvedConnector4">
            <a:avLst>
              <a:gd name="adj1" fmla="val -101429"/>
              <a:gd name="adj2" fmla="val 191440"/>
            </a:avLst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52" name="Connector: Curved 51">
            <a:extLst>
              <a:ext uri="{FF2B5EF4-FFF2-40B4-BE49-F238E27FC236}">
                <a16:creationId xmlns:a16="http://schemas.microsoft.com/office/drawing/2014/main" id="{1243B83A-918C-CBF3-9C29-CCDD8D26EB5B}"/>
              </a:ext>
            </a:extLst>
          </p:cNvPr>
          <p:cNvCxnSpPr>
            <a:cxnSpLocks/>
          </p:cNvCxnSpPr>
          <p:nvPr/>
        </p:nvCxnSpPr>
        <p:spPr bwMode="gray">
          <a:xfrm rot="16200000" flipH="1">
            <a:off x="6858968" y="3814875"/>
            <a:ext cx="67614" cy="70833"/>
          </a:xfrm>
          <a:prstGeom prst="curvedConnector4">
            <a:avLst>
              <a:gd name="adj1" fmla="val -112699"/>
              <a:gd name="adj2" fmla="val 226403"/>
            </a:avLst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tailEnd type="none"/>
          </a:ln>
          <a:effectLst/>
        </p:spPr>
      </p:cxnSp>
      <p:cxnSp>
        <p:nvCxnSpPr>
          <p:cNvPr id="60" name="Connector: Curved 59">
            <a:extLst>
              <a:ext uri="{FF2B5EF4-FFF2-40B4-BE49-F238E27FC236}">
                <a16:creationId xmlns:a16="http://schemas.microsoft.com/office/drawing/2014/main" id="{62CB1BCB-A51D-56A6-5593-78D6F7E4AB02}"/>
              </a:ext>
            </a:extLst>
          </p:cNvPr>
          <p:cNvCxnSpPr>
            <a:cxnSpLocks/>
            <a:stCxn id="158" idx="0"/>
            <a:endCxn id="158" idx="6"/>
          </p:cNvCxnSpPr>
          <p:nvPr/>
        </p:nvCxnSpPr>
        <p:spPr bwMode="gray">
          <a:xfrm rot="16200000" flipH="1">
            <a:off x="10356806" y="3788050"/>
            <a:ext cx="67614" cy="70833"/>
          </a:xfrm>
          <a:prstGeom prst="curvedConnector4">
            <a:avLst>
              <a:gd name="adj1" fmla="val -56349"/>
              <a:gd name="adj2" fmla="val 191440"/>
            </a:avLst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10118094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6157D57-E6B0-6548-96C1-58D371E9E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2ABE9224-CC26-C246-832B-8666E01C9D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0" y="532625"/>
            <a:ext cx="11200051" cy="561910"/>
          </a:xfrm>
        </p:spPr>
        <p:txBody>
          <a:bodyPr/>
          <a:lstStyle/>
          <a:p>
            <a:r>
              <a:rPr lang="en-US">
                <a:cs typeface="Arial"/>
              </a:rPr>
              <a:t>Versioning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89C9084-971D-EF40-9819-8D8A70BDE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7" name="Vertikaler Textplatzhalter 6">
            <a:extLst>
              <a:ext uri="{FF2B5EF4-FFF2-40B4-BE49-F238E27FC236}">
                <a16:creationId xmlns:a16="http://schemas.microsoft.com/office/drawing/2014/main" id="{3C9B0F74-BB3F-2D47-870A-5E43BBC95756}"/>
              </a:ext>
            </a:extLst>
          </p:cNvPr>
          <p:cNvSpPr>
            <a:spLocks noGrp="1"/>
          </p:cNvSpPr>
          <p:nvPr>
            <p:ph type="body" orient="vert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3EA1012-C1E3-09E6-9F5D-5454DCFD1DF5}"/>
              </a:ext>
            </a:extLst>
          </p:cNvPr>
          <p:cNvSpPr/>
          <p:nvPr/>
        </p:nvSpPr>
        <p:spPr>
          <a:xfrm>
            <a:off x="3909468" y="2709993"/>
            <a:ext cx="1634566" cy="882019"/>
          </a:xfrm>
          <a:prstGeom prst="rect">
            <a:avLst/>
          </a:prstGeom>
          <a:solidFill>
            <a:srgbClr val="FAA002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8" b="1">
                <a:solidFill>
                  <a:srgbClr val="000000"/>
                </a:solidFill>
                <a:latin typeface="Manrope" pitchFamily="2" charset="0"/>
              </a:rPr>
              <a:t>Catena-X </a:t>
            </a:r>
            <a:br>
              <a:rPr lang="de-DE" sz="1058" b="1">
                <a:solidFill>
                  <a:srgbClr val="000000"/>
                </a:solidFill>
                <a:latin typeface="Manrope" pitchFamily="2" charset="0"/>
              </a:rPr>
            </a:br>
            <a:r>
              <a:rPr lang="de-DE" sz="1058" b="1">
                <a:solidFill>
                  <a:srgbClr val="000000"/>
                </a:solidFill>
                <a:latin typeface="Manrope" pitchFamily="2" charset="0"/>
              </a:rPr>
              <a:t>Release</a:t>
            </a:r>
          </a:p>
          <a:p>
            <a:pPr algn="ctr"/>
            <a:r>
              <a:rPr lang="de-DE" sz="1058" err="1">
                <a:solidFill>
                  <a:srgbClr val="000000"/>
                </a:solidFill>
                <a:latin typeface="Manrope" pitchFamily="2" charset="0"/>
              </a:rPr>
              <a:t>CalVer</a:t>
            </a:r>
            <a:endParaRPr lang="de-DE" sz="1058">
              <a:solidFill>
                <a:srgbClr val="000000"/>
              </a:solidFill>
              <a:latin typeface="Manrope" pitchFamily="2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67BACAA-7F8D-AE5C-6BE4-E760DF258729}"/>
              </a:ext>
            </a:extLst>
          </p:cNvPr>
          <p:cNvSpPr/>
          <p:nvPr/>
        </p:nvSpPr>
        <p:spPr>
          <a:xfrm>
            <a:off x="7095729" y="2712016"/>
            <a:ext cx="1640132" cy="882019"/>
          </a:xfrm>
          <a:prstGeom prst="rect">
            <a:avLst/>
          </a:prstGeom>
          <a:solidFill>
            <a:srgbClr val="FAA002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8" b="1">
                <a:solidFill>
                  <a:srgbClr val="000000"/>
                </a:solidFill>
                <a:latin typeface="Manrope" pitchFamily="2" charset="0"/>
              </a:rPr>
              <a:t>Tractus-X </a:t>
            </a:r>
            <a:br>
              <a:rPr lang="en-US" sz="1058" b="1">
                <a:solidFill>
                  <a:srgbClr val="000000"/>
                </a:solidFill>
                <a:latin typeface="Manrope" pitchFamily="2" charset="0"/>
              </a:rPr>
            </a:br>
            <a:r>
              <a:rPr lang="en-US" sz="1058" b="1">
                <a:solidFill>
                  <a:srgbClr val="000000"/>
                </a:solidFill>
                <a:latin typeface="Manrope" pitchFamily="2" charset="0"/>
              </a:rPr>
              <a:t>Release</a:t>
            </a:r>
            <a:endParaRPr lang="en-US" sz="1058">
              <a:solidFill>
                <a:srgbClr val="000000"/>
              </a:solidFill>
              <a:latin typeface="Manrope" pitchFamily="2" charset="0"/>
            </a:endParaRPr>
          </a:p>
          <a:p>
            <a:pPr algn="ctr"/>
            <a:r>
              <a:rPr lang="en-US" sz="1058" err="1">
                <a:solidFill>
                  <a:srgbClr val="000000"/>
                </a:solidFill>
                <a:latin typeface="Manrope" pitchFamily="2" charset="0"/>
              </a:rPr>
              <a:t>CalVer</a:t>
            </a:r>
            <a:endParaRPr lang="en-US" sz="1058">
              <a:solidFill>
                <a:srgbClr val="000000"/>
              </a:solidFill>
              <a:latin typeface="Manrope" pitchFamily="2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299B831-B439-F736-4A98-21F3F2437357}"/>
              </a:ext>
            </a:extLst>
          </p:cNvPr>
          <p:cNvSpPr/>
          <p:nvPr/>
        </p:nvSpPr>
        <p:spPr>
          <a:xfrm>
            <a:off x="6588987" y="3947382"/>
            <a:ext cx="1259980" cy="719989"/>
          </a:xfrm>
          <a:prstGeom prst="rect">
            <a:avLst/>
          </a:prstGeom>
          <a:solidFill>
            <a:srgbClr val="FAA002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8" b="1">
                <a:solidFill>
                  <a:srgbClr val="000000"/>
                </a:solidFill>
                <a:latin typeface="Manrope" pitchFamily="2" charset="0"/>
              </a:rPr>
              <a:t>KITs</a:t>
            </a:r>
          </a:p>
          <a:p>
            <a:pPr algn="ctr"/>
            <a:r>
              <a:rPr lang="en-US" sz="1058" err="1">
                <a:solidFill>
                  <a:srgbClr val="000000"/>
                </a:solidFill>
                <a:latin typeface="Manrope" pitchFamily="2" charset="0"/>
              </a:rPr>
              <a:t>SemVer</a:t>
            </a:r>
            <a:endParaRPr lang="en-US" sz="1058">
              <a:solidFill>
                <a:srgbClr val="000000"/>
              </a:solidFill>
              <a:latin typeface="Manrope" pitchFamily="2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0883AA3C-AE9E-3CC7-2154-FBA798DDBFFF}"/>
              </a:ext>
            </a:extLst>
          </p:cNvPr>
          <p:cNvSpPr/>
          <p:nvPr/>
        </p:nvSpPr>
        <p:spPr>
          <a:xfrm>
            <a:off x="7977055" y="3947382"/>
            <a:ext cx="1259980" cy="719989"/>
          </a:xfrm>
          <a:prstGeom prst="rect">
            <a:avLst/>
          </a:prstGeom>
          <a:solidFill>
            <a:srgbClr val="FAA002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8" b="1" err="1">
                <a:solidFill>
                  <a:srgbClr val="000000"/>
                </a:solidFill>
                <a:latin typeface="Manrope" pitchFamily="2" charset="0"/>
              </a:rPr>
              <a:t>Prodcuts</a:t>
            </a:r>
            <a:endParaRPr lang="en-US" sz="1058" b="1">
              <a:solidFill>
                <a:srgbClr val="000000"/>
              </a:solidFill>
              <a:latin typeface="Manrope" pitchFamily="2" charset="0"/>
            </a:endParaRPr>
          </a:p>
          <a:p>
            <a:pPr algn="ctr"/>
            <a:r>
              <a:rPr lang="en-US" sz="1058" err="1">
                <a:solidFill>
                  <a:srgbClr val="000000"/>
                </a:solidFill>
                <a:latin typeface="Manrope" pitchFamily="2" charset="0"/>
              </a:rPr>
              <a:t>SemVer</a:t>
            </a:r>
            <a:endParaRPr lang="en-US" sz="1058">
              <a:solidFill>
                <a:srgbClr val="000000"/>
              </a:solidFill>
              <a:latin typeface="Manrope" pitchFamily="2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4583F193-AE83-7A4E-C86E-903526404EEA}"/>
              </a:ext>
            </a:extLst>
          </p:cNvPr>
          <p:cNvSpPr/>
          <p:nvPr/>
        </p:nvSpPr>
        <p:spPr>
          <a:xfrm>
            <a:off x="3384159" y="3947383"/>
            <a:ext cx="1259980" cy="719989"/>
          </a:xfrm>
          <a:prstGeom prst="rect">
            <a:avLst/>
          </a:prstGeom>
          <a:solidFill>
            <a:srgbClr val="FAA002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8" b="1">
                <a:solidFill>
                  <a:srgbClr val="000000"/>
                </a:solidFill>
                <a:latin typeface="Manrope" pitchFamily="2" charset="0"/>
              </a:rPr>
              <a:t>Other Normative</a:t>
            </a:r>
            <a:br>
              <a:rPr lang="en-US" sz="1058" b="1">
                <a:solidFill>
                  <a:srgbClr val="000000"/>
                </a:solidFill>
                <a:latin typeface="Manrope" pitchFamily="2" charset="0"/>
              </a:rPr>
            </a:br>
            <a:r>
              <a:rPr lang="en-US" sz="1058" b="1">
                <a:solidFill>
                  <a:srgbClr val="000000"/>
                </a:solidFill>
                <a:latin typeface="Manrope" pitchFamily="2" charset="0"/>
              </a:rPr>
              <a:t> Documents</a:t>
            </a:r>
            <a:br>
              <a:rPr lang="en-US" sz="1058" b="1">
                <a:solidFill>
                  <a:srgbClr val="000000"/>
                </a:solidFill>
                <a:latin typeface="Manrope" pitchFamily="2" charset="0"/>
              </a:rPr>
            </a:br>
            <a:r>
              <a:rPr lang="en-US" sz="1058" err="1">
                <a:solidFill>
                  <a:srgbClr val="000000"/>
                </a:solidFill>
                <a:latin typeface="Manrope" pitchFamily="2" charset="0"/>
              </a:rPr>
              <a:t>SemVer</a:t>
            </a:r>
            <a:endParaRPr lang="en-US" sz="1058">
              <a:solidFill>
                <a:srgbClr val="000000"/>
              </a:solidFill>
              <a:latin typeface="Manrope" pitchFamily="2" charset="0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3B77AA3B-706D-1E2B-A5BE-5424F76A194D}"/>
              </a:ext>
            </a:extLst>
          </p:cNvPr>
          <p:cNvSpPr/>
          <p:nvPr/>
        </p:nvSpPr>
        <p:spPr>
          <a:xfrm>
            <a:off x="4809364" y="3947382"/>
            <a:ext cx="1259980" cy="719989"/>
          </a:xfrm>
          <a:prstGeom prst="rect">
            <a:avLst/>
          </a:prstGeom>
          <a:solidFill>
            <a:srgbClr val="FAA002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8" b="1">
                <a:solidFill>
                  <a:srgbClr val="000000"/>
                </a:solidFill>
                <a:latin typeface="Manrope" pitchFamily="2" charset="0"/>
              </a:rPr>
              <a:t>Standards</a:t>
            </a:r>
          </a:p>
          <a:p>
            <a:pPr algn="ctr"/>
            <a:r>
              <a:rPr lang="en-US" sz="1058" err="1">
                <a:solidFill>
                  <a:srgbClr val="000000"/>
                </a:solidFill>
                <a:latin typeface="Manrope" pitchFamily="2" charset="0"/>
              </a:rPr>
              <a:t>SemVer</a:t>
            </a:r>
            <a:endParaRPr lang="en-US" sz="1058">
              <a:solidFill>
                <a:srgbClr val="000000"/>
              </a:solidFill>
              <a:latin typeface="Manrope" pitchFamily="2" charset="0"/>
            </a:endParaRPr>
          </a:p>
        </p:txBody>
      </p:sp>
      <p:cxnSp>
        <p:nvCxnSpPr>
          <p:cNvPr id="28" name="Gewinkelte Verbindung 13">
            <a:extLst>
              <a:ext uri="{FF2B5EF4-FFF2-40B4-BE49-F238E27FC236}">
                <a16:creationId xmlns:a16="http://schemas.microsoft.com/office/drawing/2014/main" id="{167F7041-7A6E-C859-EC4F-10194B2705EC}"/>
              </a:ext>
            </a:extLst>
          </p:cNvPr>
          <p:cNvCxnSpPr>
            <a:cxnSpLocks/>
          </p:cNvCxnSpPr>
          <p:nvPr/>
        </p:nvCxnSpPr>
        <p:spPr>
          <a:xfrm rot="16200000" flipH="1">
            <a:off x="4905368" y="3413395"/>
            <a:ext cx="355370" cy="712603"/>
          </a:xfrm>
          <a:prstGeom prst="bentConnector3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winkelte Verbindung 23">
            <a:extLst>
              <a:ext uri="{FF2B5EF4-FFF2-40B4-BE49-F238E27FC236}">
                <a16:creationId xmlns:a16="http://schemas.microsoft.com/office/drawing/2014/main" id="{D39D4FAA-E5A0-3E93-96DE-FE5FD39D4C02}"/>
              </a:ext>
            </a:extLst>
          </p:cNvPr>
          <p:cNvCxnSpPr>
            <a:cxnSpLocks/>
          </p:cNvCxnSpPr>
          <p:nvPr/>
        </p:nvCxnSpPr>
        <p:spPr>
          <a:xfrm rot="5400000">
            <a:off x="7389322" y="3423692"/>
            <a:ext cx="353348" cy="694034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winkelte Verbindung 26">
            <a:extLst>
              <a:ext uri="{FF2B5EF4-FFF2-40B4-BE49-F238E27FC236}">
                <a16:creationId xmlns:a16="http://schemas.microsoft.com/office/drawing/2014/main" id="{1FC441CE-C90E-6D3F-5D00-7A2182398BB8}"/>
              </a:ext>
            </a:extLst>
          </p:cNvPr>
          <p:cNvCxnSpPr>
            <a:cxnSpLocks/>
          </p:cNvCxnSpPr>
          <p:nvPr/>
        </p:nvCxnSpPr>
        <p:spPr>
          <a:xfrm rot="16200000" flipH="1">
            <a:off x="8083355" y="3423691"/>
            <a:ext cx="353348" cy="694033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winkelte Verbindung 53">
            <a:extLst>
              <a:ext uri="{FF2B5EF4-FFF2-40B4-BE49-F238E27FC236}">
                <a16:creationId xmlns:a16="http://schemas.microsoft.com/office/drawing/2014/main" id="{304A90AD-0FC0-72E9-79F2-FE7D564082EE}"/>
              </a:ext>
            </a:extLst>
          </p:cNvPr>
          <p:cNvCxnSpPr>
            <a:cxnSpLocks/>
          </p:cNvCxnSpPr>
          <p:nvPr/>
        </p:nvCxnSpPr>
        <p:spPr>
          <a:xfrm rot="5400000">
            <a:off x="4192764" y="3413395"/>
            <a:ext cx="355371" cy="712603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0BACF1A2-E8E3-E079-5BA4-1863249D0BD1}"/>
              </a:ext>
            </a:extLst>
          </p:cNvPr>
          <p:cNvCxnSpPr/>
          <p:nvPr/>
        </p:nvCxnSpPr>
        <p:spPr>
          <a:xfrm>
            <a:off x="5544034" y="3151003"/>
            <a:ext cx="1551694" cy="2023"/>
          </a:xfrm>
          <a:prstGeom prst="straightConnector1">
            <a:avLst/>
          </a:prstGeom>
          <a:ln w="635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6F22A625-5D75-D30A-127F-8D958134358D}"/>
              </a:ext>
            </a:extLst>
          </p:cNvPr>
          <p:cNvSpPr/>
          <p:nvPr/>
        </p:nvSpPr>
        <p:spPr>
          <a:xfrm>
            <a:off x="495279" y="2709992"/>
            <a:ext cx="1634566" cy="882019"/>
          </a:xfrm>
          <a:prstGeom prst="rect">
            <a:avLst/>
          </a:prstGeom>
          <a:solidFill>
            <a:srgbClr val="FAA002"/>
          </a:solidFill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8" b="1">
                <a:solidFill>
                  <a:srgbClr val="000000"/>
                </a:solidFill>
                <a:latin typeface="Manrope" pitchFamily="2" charset="0"/>
              </a:rPr>
              <a:t>Commercial / Self-Developed Solutions </a:t>
            </a:r>
            <a:br>
              <a:rPr lang="en-US" sz="1058" b="1">
                <a:solidFill>
                  <a:srgbClr val="000000"/>
                </a:solidFill>
                <a:latin typeface="Manrope" pitchFamily="2" charset="0"/>
              </a:rPr>
            </a:br>
            <a:r>
              <a:rPr lang="en-US" sz="1058">
                <a:solidFill>
                  <a:srgbClr val="000000"/>
                </a:solidFill>
                <a:latin typeface="Manrope" pitchFamily="2" charset="0"/>
              </a:rPr>
              <a:t>Own Versioning </a:t>
            </a:r>
            <a:br>
              <a:rPr lang="en-US" sz="1058">
                <a:solidFill>
                  <a:srgbClr val="000000"/>
                </a:solidFill>
                <a:latin typeface="Manrope" pitchFamily="2" charset="0"/>
              </a:rPr>
            </a:br>
            <a:r>
              <a:rPr lang="en-US" sz="1058">
                <a:solidFill>
                  <a:srgbClr val="000000"/>
                </a:solidFill>
                <a:latin typeface="Manrope" pitchFamily="2" charset="0"/>
              </a:rPr>
              <a:t>Scheme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E1F65B84-AAE6-00E1-2391-3BA3D25EA73B}"/>
              </a:ext>
            </a:extLst>
          </p:cNvPr>
          <p:cNvCxnSpPr>
            <a:cxnSpLocks/>
          </p:cNvCxnSpPr>
          <p:nvPr/>
        </p:nvCxnSpPr>
        <p:spPr>
          <a:xfrm flipH="1" flipV="1">
            <a:off x="2129845" y="3151002"/>
            <a:ext cx="1779623" cy="1"/>
          </a:xfrm>
          <a:prstGeom prst="straightConnector1">
            <a:avLst/>
          </a:prstGeom>
          <a:ln w="635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feld 52">
            <a:extLst>
              <a:ext uri="{FF2B5EF4-FFF2-40B4-BE49-F238E27FC236}">
                <a16:creationId xmlns:a16="http://schemas.microsoft.com/office/drawing/2014/main" id="{63B33C90-A148-0E27-C77A-B349B55F52F2}"/>
              </a:ext>
            </a:extLst>
          </p:cNvPr>
          <p:cNvSpPr txBox="1"/>
          <p:nvPr/>
        </p:nvSpPr>
        <p:spPr>
          <a:xfrm>
            <a:off x="2587743" y="2877882"/>
            <a:ext cx="700833" cy="222690"/>
          </a:xfrm>
          <a:prstGeom prst="rect">
            <a:avLst/>
          </a:prstGeom>
          <a:noFill/>
          <a:ln w="6350">
            <a:noFill/>
          </a:ln>
        </p:spPr>
        <p:txBody>
          <a:bodyPr wrap="none" rtlCol="0">
            <a:spAutoFit/>
          </a:bodyPr>
          <a:lstStyle/>
          <a:p>
            <a:r>
              <a:rPr lang="en-US" sz="847" i="1">
                <a:solidFill>
                  <a:srgbClr val="000000"/>
                </a:solidFill>
                <a:latin typeface="Manrope" pitchFamily="2" charset="0"/>
              </a:rPr>
              <a:t>Complies to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37CE5952-2B57-E850-1BDD-42327F347957}"/>
              </a:ext>
            </a:extLst>
          </p:cNvPr>
          <p:cNvSpPr txBox="1"/>
          <p:nvPr/>
        </p:nvSpPr>
        <p:spPr>
          <a:xfrm>
            <a:off x="5887968" y="2875497"/>
            <a:ext cx="700833" cy="222690"/>
          </a:xfrm>
          <a:prstGeom prst="rect">
            <a:avLst/>
          </a:prstGeom>
          <a:noFill/>
          <a:ln w="6350">
            <a:noFill/>
          </a:ln>
        </p:spPr>
        <p:txBody>
          <a:bodyPr wrap="none" rtlCol="0">
            <a:spAutoFit/>
          </a:bodyPr>
          <a:lstStyle/>
          <a:p>
            <a:r>
              <a:rPr lang="en-US" sz="847" i="1">
                <a:solidFill>
                  <a:srgbClr val="000000"/>
                </a:solidFill>
                <a:latin typeface="Manrope" pitchFamily="2" charset="0"/>
              </a:rPr>
              <a:t>Complies to</a:t>
            </a:r>
          </a:p>
        </p:txBody>
      </p:sp>
      <p:sp>
        <p:nvSpPr>
          <p:cNvPr id="57" name="Abgerundetes Rechteck 1">
            <a:extLst>
              <a:ext uri="{FF2B5EF4-FFF2-40B4-BE49-F238E27FC236}">
                <a16:creationId xmlns:a16="http://schemas.microsoft.com/office/drawing/2014/main" id="{74112198-6936-03B9-B218-00911C089661}"/>
              </a:ext>
            </a:extLst>
          </p:cNvPr>
          <p:cNvSpPr/>
          <p:nvPr/>
        </p:nvSpPr>
        <p:spPr>
          <a:xfrm>
            <a:off x="3909468" y="1741400"/>
            <a:ext cx="4826393" cy="398192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8" b="1">
                <a:solidFill>
                  <a:schemeClr val="bg1"/>
                </a:solidFill>
                <a:latin typeface="Manrope" pitchFamily="2" charset="0"/>
              </a:rPr>
              <a:t>Catena-X Association</a:t>
            </a:r>
          </a:p>
        </p:txBody>
      </p:sp>
      <p:cxnSp>
        <p:nvCxnSpPr>
          <p:cNvPr id="59" name="Gewinkelte Verbindung 17">
            <a:extLst>
              <a:ext uri="{FF2B5EF4-FFF2-40B4-BE49-F238E27FC236}">
                <a16:creationId xmlns:a16="http://schemas.microsoft.com/office/drawing/2014/main" id="{55E178D7-F660-8646-CA05-E11321516240}"/>
              </a:ext>
            </a:extLst>
          </p:cNvPr>
          <p:cNvCxnSpPr>
            <a:cxnSpLocks/>
            <a:stCxn id="57" idx="2"/>
            <a:endCxn id="4" idx="0"/>
          </p:cNvCxnSpPr>
          <p:nvPr/>
        </p:nvCxnSpPr>
        <p:spPr>
          <a:xfrm rot="5400000">
            <a:off x="5239508" y="1626837"/>
            <a:ext cx="570401" cy="1595913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winkelte Verbindung 18">
            <a:extLst>
              <a:ext uri="{FF2B5EF4-FFF2-40B4-BE49-F238E27FC236}">
                <a16:creationId xmlns:a16="http://schemas.microsoft.com/office/drawing/2014/main" id="{F7BC7A17-94F4-3B19-7116-E4D55980CBE9}"/>
              </a:ext>
            </a:extLst>
          </p:cNvPr>
          <p:cNvCxnSpPr>
            <a:cxnSpLocks/>
            <a:stCxn id="57" idx="2"/>
            <a:endCxn id="10" idx="0"/>
          </p:cNvCxnSpPr>
          <p:nvPr/>
        </p:nvCxnSpPr>
        <p:spPr>
          <a:xfrm rot="16200000" flipH="1">
            <a:off x="6833018" y="1629238"/>
            <a:ext cx="572424" cy="1593131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D9B6B2C5-EDE7-2CCE-371B-83C1F706EB18}"/>
              </a:ext>
            </a:extLst>
          </p:cNvPr>
          <p:cNvSpPr txBox="1"/>
          <p:nvPr/>
        </p:nvSpPr>
        <p:spPr>
          <a:xfrm>
            <a:off x="6495320" y="2196790"/>
            <a:ext cx="1702710" cy="222690"/>
          </a:xfrm>
          <a:prstGeom prst="rect">
            <a:avLst/>
          </a:prstGeom>
          <a:noFill/>
          <a:ln w="6350">
            <a:noFill/>
          </a:ln>
        </p:spPr>
        <p:txBody>
          <a:bodyPr wrap="none" rtlCol="0">
            <a:spAutoFit/>
          </a:bodyPr>
          <a:lstStyle/>
          <a:p>
            <a:r>
              <a:rPr lang="en-US" sz="847" i="1">
                <a:solidFill>
                  <a:srgbClr val="000000"/>
                </a:solidFill>
                <a:latin typeface="Manrope" pitchFamily="2" charset="0"/>
              </a:rPr>
              <a:t>Sponsors, Promotes &amp; Coordinates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D135485-3949-9F80-0CAD-24935631FEDA}"/>
              </a:ext>
            </a:extLst>
          </p:cNvPr>
          <p:cNvSpPr txBox="1"/>
          <p:nvPr/>
        </p:nvSpPr>
        <p:spPr>
          <a:xfrm>
            <a:off x="5083052" y="2196790"/>
            <a:ext cx="713657" cy="222690"/>
          </a:xfrm>
          <a:prstGeom prst="rect">
            <a:avLst/>
          </a:prstGeom>
          <a:noFill/>
          <a:ln w="6350">
            <a:noFill/>
          </a:ln>
        </p:spPr>
        <p:txBody>
          <a:bodyPr wrap="none" rtlCol="0">
            <a:spAutoFit/>
          </a:bodyPr>
          <a:lstStyle/>
          <a:p>
            <a:r>
              <a:rPr lang="en-US" sz="847" i="1">
                <a:solidFill>
                  <a:srgbClr val="000000"/>
                </a:solidFill>
                <a:latin typeface="Manrope" pitchFamily="2" charset="0"/>
              </a:rPr>
              <a:t>Coordinates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485F2F41-825E-3D1F-D7C6-C933FA2C2A56}"/>
              </a:ext>
            </a:extLst>
          </p:cNvPr>
          <p:cNvCxnSpPr>
            <a:cxnSpLocks/>
            <a:stCxn id="25" idx="3"/>
            <a:endCxn id="13" idx="1"/>
          </p:cNvCxnSpPr>
          <p:nvPr/>
        </p:nvCxnSpPr>
        <p:spPr>
          <a:xfrm>
            <a:off x="6069344" y="4307376"/>
            <a:ext cx="519643" cy="0"/>
          </a:xfrm>
          <a:prstGeom prst="straightConnector1">
            <a:avLst/>
          </a:prstGeom>
          <a:ln w="635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48E7A72F-F47D-BD1D-FBAA-10E02F0A18E4}"/>
              </a:ext>
            </a:extLst>
          </p:cNvPr>
          <p:cNvSpPr txBox="1"/>
          <p:nvPr/>
        </p:nvSpPr>
        <p:spPr>
          <a:xfrm>
            <a:off x="6069344" y="3950811"/>
            <a:ext cx="519643" cy="353045"/>
          </a:xfrm>
          <a:prstGeom prst="rect">
            <a:avLst/>
          </a:prstGeom>
          <a:noFill/>
          <a:ln w="63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847" i="1">
                <a:solidFill>
                  <a:srgbClr val="000000"/>
                </a:solidFill>
                <a:latin typeface="Manrope" pitchFamily="2" charset="0"/>
              </a:rPr>
              <a:t>Link </a:t>
            </a:r>
            <a:br>
              <a:rPr lang="en-US" sz="847" i="1">
                <a:solidFill>
                  <a:srgbClr val="000000"/>
                </a:solidFill>
                <a:latin typeface="Manrope" pitchFamily="2" charset="0"/>
              </a:rPr>
            </a:br>
            <a:r>
              <a:rPr lang="en-US" sz="847" i="1">
                <a:solidFill>
                  <a:srgbClr val="000000"/>
                </a:solidFill>
                <a:latin typeface="Manrope" pitchFamily="2" charset="0"/>
              </a:rPr>
              <a:t>to</a:t>
            </a:r>
          </a:p>
        </p:txBody>
      </p:sp>
    </p:spTree>
    <p:extLst>
      <p:ext uri="{BB962C8B-B14F-4D97-AF65-F5344CB8AC3E}">
        <p14:creationId xmlns:p14="http://schemas.microsoft.com/office/powerpoint/2010/main" val="7779883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34B7A753-1B7B-4443-9A47-9B0F4ADB02DC}" vid="{FF05F419-5A3C-4672-B8CB-96B5C896E413}"/>
    </a:ext>
  </a:extLst>
</a:theme>
</file>

<file path=ppt/theme/theme2.xml><?xml version="1.0" encoding="utf-8"?>
<a:theme xmlns:a="http://schemas.openxmlformats.org/drawingml/2006/main" name="Catena-X">
  <a:themeElements>
    <a:clrScheme name="Benutzerdefiniert 1">
      <a:dk1>
        <a:sysClr val="windowText" lastClr="000000"/>
      </a:dk1>
      <a:lt1>
        <a:sysClr val="window" lastClr="FFFFFF"/>
      </a:lt1>
      <a:dk2>
        <a:srgbClr val="B3CB2D"/>
      </a:dk2>
      <a:lt2>
        <a:srgbClr val="FFA600"/>
      </a:lt2>
      <a:accent1>
        <a:srgbClr val="1C6445"/>
      </a:accent1>
      <a:accent2>
        <a:srgbClr val="CFF297"/>
      </a:accent2>
      <a:accent3>
        <a:srgbClr val="4E946A"/>
      </a:accent3>
      <a:accent4>
        <a:srgbClr val="0634B3"/>
      </a:accent4>
      <a:accent5>
        <a:srgbClr val="BDE3F5"/>
      </a:accent5>
      <a:accent6>
        <a:srgbClr val="679FF2"/>
      </a:accent6>
      <a:hlink>
        <a:srgbClr val="FFA600"/>
      </a:hlink>
      <a:folHlink>
        <a:srgbClr val="FFA6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F6F6F6"/>
        </a:solidFill>
        <a:ln>
          <a:noFill/>
        </a:ln>
      </a:spPr>
      <a:bodyPr lIns="216000" tIns="180000" rIns="216000" bIns="180000" anchor="t"/>
      <a:lstStyle>
        <a:defPPr algn="l">
          <a:lnSpc>
            <a:spcPct val="110000"/>
          </a:lnSpc>
          <a:spcBef>
            <a:spcPts val="600"/>
          </a:spcBef>
          <a:spcAft>
            <a:spcPts val="600"/>
          </a:spcAft>
          <a:defRPr sz="1400" dirty="0">
            <a:solidFill>
              <a:schemeClr val="tx1"/>
            </a:solidFill>
            <a:latin typeface="+mj-lt"/>
          </a:defRPr>
        </a:defPPr>
      </a:lstStyle>
    </a:spDef>
    <a:lnDef>
      <a:spPr bwMode="gray">
        <a:ln w="254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 algn="l">
          <a:lnSpc>
            <a:spcPct val="110000"/>
          </a:lnSpc>
          <a:spcBef>
            <a:spcPts val="300"/>
          </a:spcBef>
          <a:spcAft>
            <a:spcPts val="300"/>
          </a:spcAft>
          <a:buClr>
            <a:schemeClr val="bg2"/>
          </a:buClr>
          <a:buFont typeface="Wingdings 2" panose="05020102010507070707" pitchFamily="18" charset="2"/>
          <a:buChar char=""/>
          <a:defRPr sz="1400" dirty="0"/>
        </a:defPPr>
      </a:lstStyle>
    </a:txDef>
  </a:objectDefaults>
  <a:extraClrSchemeLst/>
  <a:custClrLst>
    <a:custClr name="Orange extra dark 100%">
      <a:srgbClr val="B42C18"/>
    </a:custClr>
    <a:custClr name="Orange dark 100%">
      <a:srgbClr val="E94E24"/>
    </a:custClr>
    <a:custClr name="Orange light 100%">
      <a:srgbClr val="FCD2A4"/>
    </a:custClr>
    <a:custClr name="Orange light 10%">
      <a:srgbClr val="FFF6E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ue extra dark 100%">
      <a:srgbClr val="0634B3"/>
    </a:custClr>
    <a:custClr name="Blue dark 100%">
      <a:srgbClr val="679FF2"/>
    </a:custClr>
    <a:custClr name="Blue light 100%">
      <a:srgbClr val="BDE3F5"/>
    </a:custClr>
    <a:custClr name="Blue light 10%">
      <a:srgbClr val="F3FAF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een extra dark 100%">
      <a:srgbClr val="1C6445"/>
    </a:custClr>
    <a:custClr name="Green dark 100%">
      <a:srgbClr val="4E946A"/>
    </a:custClr>
    <a:custClr name="Green light 100%">
      <a:srgbClr val="CFF297"/>
    </a:custClr>
    <a:custClr name="Green light 10%">
      <a:srgbClr val="F5FCE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Black 100%">
      <a:srgbClr val="000000"/>
    </a:custClr>
    <a:custClr name="Grey 4">
      <a:srgbClr val="4A4A4A"/>
    </a:custClr>
    <a:custClr name="Grey 3">
      <a:srgbClr val="878787"/>
    </a:custClr>
    <a:custClr name="Grey 2">
      <a:srgbClr val="C6C6C6"/>
    </a:custClr>
    <a:custClr name="Grey 1">
      <a:srgbClr val="F6F6F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ey dark">
      <a:srgbClr val="2E2D2C"/>
    </a:custClr>
  </a:custClrLst>
  <a:extLst>
    <a:ext uri="{05A4C25C-085E-4340-85A3-A5531E510DB2}">
      <thm15:themeFamily xmlns:thm15="http://schemas.microsoft.com/office/thememl/2012/main" name="K16_Catena-X_PowerPoint-Vorlage_V01_2.potx" id="{40A99328-39F5-4AA9-B555-F9E871964110}" vid="{7632B136-B79B-4872-95E6-2C881A596865}"/>
    </a:ext>
  </a:extLst>
</a:theme>
</file>

<file path=ppt/theme/theme3.xml><?xml version="1.0" encoding="utf-8"?>
<a:theme xmlns:a="http://schemas.openxmlformats.org/drawingml/2006/main" name="1_Cata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_CatenaX_01.potx" id="{A1B71CD3-2BE3-44B1-9179-077551C208AF}" vid="{D6F3E7C7-9B69-49BA-A246-51887D7E43F1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67b8054-3481-4999-9b89-5a9a3729820c" xsi:nil="true"/>
    <lcf76f155ced4ddcb4097134ff3c332f xmlns="e173213b-d6e6-4077-93de-fac7afb8733c">
      <Terms xmlns="http://schemas.microsoft.com/office/infopath/2007/PartnerControls"/>
    </lcf76f155ced4ddcb4097134ff3c332f>
    <MediaLengthInSeconds xmlns="e173213b-d6e6-4077-93de-fac7afb8733c" xsi:nil="true"/>
    <SharedWithUsers xmlns="067b8054-3481-4999-9b89-5a9a3729820c">
      <UserInfo>
        <DisplayName>Daniel Miehle</DisplayName>
        <AccountId>13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B6932D3EDDA8143B32FA8AD5C5501B9" ma:contentTypeVersion="14" ma:contentTypeDescription="Ein neues Dokument erstellen." ma:contentTypeScope="" ma:versionID="4a2933e5f8cd0b05e359eac3e009eb3e">
  <xsd:schema xmlns:xsd="http://www.w3.org/2001/XMLSchema" xmlns:xs="http://www.w3.org/2001/XMLSchema" xmlns:p="http://schemas.microsoft.com/office/2006/metadata/properties" xmlns:ns2="e173213b-d6e6-4077-93de-fac7afb8733c" xmlns:ns3="067b8054-3481-4999-9b89-5a9a3729820c" targetNamespace="http://schemas.microsoft.com/office/2006/metadata/properties" ma:root="true" ma:fieldsID="88aac2391431c834e73eaa12585e3a54" ns2:_="" ns3:_="">
    <xsd:import namespace="e173213b-d6e6-4077-93de-fac7afb8733c"/>
    <xsd:import namespace="067b8054-3481-4999-9b89-5a9a372982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73213b-d6e6-4077-93de-fac7afb873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651ef69f-b95c-4ae8-865a-c403d19ffde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7b8054-3481-4999-9b89-5a9a3729820c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d7ef3ca2-985a-45de-9c4c-1141e191c108}" ma:internalName="TaxCatchAll" ma:showField="CatchAllData" ma:web="067b8054-3481-4999-9b89-5a9a372982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6697365B-A541-4817-9130-76AA4F3B7206}">
  <ds:schemaRefs>
    <ds:schemaRef ds:uri="027deb37-e76e-46bf-94fa-b346e58c089c"/>
    <ds:schemaRef ds:uri="067b8054-3481-4999-9b89-5a9a3729820c"/>
    <ds:schemaRef ds:uri="793ae8ff-6dbf-4228-a0e6-f6d7e4c4b580"/>
    <ds:schemaRef ds:uri="e173213b-d6e6-4077-93de-fac7afb8733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C2427A6-1DB1-46D5-80CB-618C9505915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BB1516D-752B-4B24-8314-FED0C12C85A4}">
  <ds:schemaRefs>
    <ds:schemaRef ds:uri="067b8054-3481-4999-9b89-5a9a3729820c"/>
    <ds:schemaRef ds:uri="e173213b-d6e6-4077-93de-fac7afb8733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51534924-EF19-43B7-9E5E-0CF30E658C4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25</Words>
  <Application>Microsoft Office PowerPoint</Application>
  <PresentationFormat>Widescreen</PresentationFormat>
  <Paragraphs>92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7" baseType="lpstr">
      <vt:lpstr>Arial</vt:lpstr>
      <vt:lpstr>BMWGroupTN Condensed</vt:lpstr>
      <vt:lpstr>Calibri</vt:lpstr>
      <vt:lpstr>Georgia</vt:lpstr>
      <vt:lpstr>Helvetica</vt:lpstr>
      <vt:lpstr>Manrope</vt:lpstr>
      <vt:lpstr>Manrope Light</vt:lpstr>
      <vt:lpstr>Segoe UI</vt:lpstr>
      <vt:lpstr>Wingdings</vt:lpstr>
      <vt:lpstr>Wingdings 2</vt:lpstr>
      <vt:lpstr>Contrast</vt:lpstr>
      <vt:lpstr>Catena-X</vt:lpstr>
      <vt:lpstr>1_Catana-X PowerPoint Master</vt:lpstr>
      <vt:lpstr>think-cell Slide</vt:lpstr>
      <vt:lpstr>How do the different levels work together? </vt:lpstr>
      <vt:lpstr>Life Cycle Management – Impact of Breaking*-Changes</vt:lpstr>
      <vt:lpstr>Version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kus: Fraunhofer Kooperation.</dc:title>
  <dc:creator>Anika</dc:creator>
  <cp:lastModifiedBy>Werner Roman FRD FIEA</cp:lastModifiedBy>
  <cp:revision>26</cp:revision>
  <cp:lastPrinted>2023-02-20T07:18:22Z</cp:lastPrinted>
  <dcterms:created xsi:type="dcterms:W3CDTF">2022-05-09T07:37:59Z</dcterms:created>
  <dcterms:modified xsi:type="dcterms:W3CDTF">2024-06-21T12:50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B6932D3EDDA8143B32FA8AD5C5501B9</vt:lpwstr>
  </property>
  <property fmtid="{D5CDD505-2E9C-101B-9397-08002B2CF9AE}" pid="3" name="Order">
    <vt:r8>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ediaServiceImageTags">
    <vt:lpwstr/>
  </property>
  <property fmtid="{D5CDD505-2E9C-101B-9397-08002B2CF9AE}" pid="11" name="MSIP_Label_757ccef6-6f89-497f-837e-da3f8dd5386d_Enabled">
    <vt:lpwstr>true</vt:lpwstr>
  </property>
  <property fmtid="{D5CDD505-2E9C-101B-9397-08002B2CF9AE}" pid="12" name="MSIP_Label_757ccef6-6f89-497f-837e-da3f8dd5386d_SetDate">
    <vt:lpwstr>2023-02-08T07:35:22Z</vt:lpwstr>
  </property>
  <property fmtid="{D5CDD505-2E9C-101B-9397-08002B2CF9AE}" pid="13" name="MSIP_Label_757ccef6-6f89-497f-837e-da3f8dd5386d_Method">
    <vt:lpwstr>Privileged</vt:lpwstr>
  </property>
  <property fmtid="{D5CDD505-2E9C-101B-9397-08002B2CF9AE}" pid="14" name="MSIP_Label_757ccef6-6f89-497f-837e-da3f8dd5386d_Name">
    <vt:lpwstr>Personal</vt:lpwstr>
  </property>
  <property fmtid="{D5CDD505-2E9C-101B-9397-08002B2CF9AE}" pid="15" name="MSIP_Label_757ccef6-6f89-497f-837e-da3f8dd5386d_SiteId">
    <vt:lpwstr>ce849bab-cc1c-465b-b62e-18f07c9ac198</vt:lpwstr>
  </property>
  <property fmtid="{D5CDD505-2E9C-101B-9397-08002B2CF9AE}" pid="16" name="MSIP_Label_757ccef6-6f89-497f-837e-da3f8dd5386d_ActionId">
    <vt:lpwstr>096bfca7-9dd1-4119-80f9-6a9fd564e618</vt:lpwstr>
  </property>
  <property fmtid="{D5CDD505-2E9C-101B-9397-08002B2CF9AE}" pid="17" name="MSIP_Label_757ccef6-6f89-497f-837e-da3f8dd5386d_ContentBits">
    <vt:lpwstr>0</vt:lpwstr>
  </property>
  <property fmtid="{D5CDD505-2E9C-101B-9397-08002B2CF9AE}" pid="18" name="MSIP_Label_7294a1c8-9899-41e7-8f6e-8b1b3c79592a_Enabled">
    <vt:lpwstr>true</vt:lpwstr>
  </property>
  <property fmtid="{D5CDD505-2E9C-101B-9397-08002B2CF9AE}" pid="19" name="MSIP_Label_7294a1c8-9899-41e7-8f6e-8b1b3c79592a_SetDate">
    <vt:lpwstr>2024-06-06T20:33:42Z</vt:lpwstr>
  </property>
  <property fmtid="{D5CDD505-2E9C-101B-9397-08002B2CF9AE}" pid="20" name="MSIP_Label_7294a1c8-9899-41e7-8f6e-8b1b3c79592a_Method">
    <vt:lpwstr>Privileged</vt:lpwstr>
  </property>
  <property fmtid="{D5CDD505-2E9C-101B-9397-08002B2CF9AE}" pid="21" name="MSIP_Label_7294a1c8-9899-41e7-8f6e-8b1b3c79592a_Name">
    <vt:lpwstr>Internal sub2 (no marking)</vt:lpwstr>
  </property>
  <property fmtid="{D5CDD505-2E9C-101B-9397-08002B2CF9AE}" pid="22" name="MSIP_Label_7294a1c8-9899-41e7-8f6e-8b1b3c79592a_SiteId">
    <vt:lpwstr>eb70b763-b6d7-4486-8555-8831709a784e</vt:lpwstr>
  </property>
  <property fmtid="{D5CDD505-2E9C-101B-9397-08002B2CF9AE}" pid="23" name="MSIP_Label_7294a1c8-9899-41e7-8f6e-8b1b3c79592a_ActionId">
    <vt:lpwstr>a5df4164-2e16-4dbc-b6f3-cac6c1e66c81</vt:lpwstr>
  </property>
  <property fmtid="{D5CDD505-2E9C-101B-9397-08002B2CF9AE}" pid="24" name="MSIP_Label_7294a1c8-9899-41e7-8f6e-8b1b3c79592a_ContentBits">
    <vt:lpwstr>0</vt:lpwstr>
  </property>
</Properties>
</file>